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1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22"/>
    <p:sldMasterId id="2147483817" r:id="rId23"/>
    <p:sldMasterId id="2147483812" r:id="rId24"/>
  </p:sldMasterIdLst>
  <p:notesMasterIdLst>
    <p:notesMasterId r:id="rId43"/>
  </p:notesMasterIdLst>
  <p:handoutMasterIdLst>
    <p:handoutMasterId r:id="rId44"/>
  </p:handoutMasterIdLst>
  <p:sldIdLst>
    <p:sldId id="449" r:id="rId25"/>
    <p:sldId id="344" r:id="rId26"/>
    <p:sldId id="450" r:id="rId27"/>
    <p:sldId id="2147376416" r:id="rId28"/>
    <p:sldId id="2147376394" r:id="rId29"/>
    <p:sldId id="2147376366" r:id="rId30"/>
    <p:sldId id="2147377035" r:id="rId31"/>
    <p:sldId id="2147376457" r:id="rId32"/>
    <p:sldId id="2146849412" r:id="rId33"/>
    <p:sldId id="2147376460" r:id="rId34"/>
    <p:sldId id="2147376459" r:id="rId35"/>
    <p:sldId id="2147377033" r:id="rId36"/>
    <p:sldId id="2147377034" r:id="rId37"/>
    <p:sldId id="6635" r:id="rId38"/>
    <p:sldId id="448" r:id="rId39"/>
    <p:sldId id="263" r:id="rId40"/>
    <p:sldId id="2147377032" r:id="rId41"/>
    <p:sldId id="2146849411" r:id="rId42"/>
  </p:sldIdLst>
  <p:sldSz cx="12195175" cy="6858000"/>
  <p:notesSz cx="6858000" cy="9144000"/>
  <p:custDataLst>
    <p:tags r:id="rId45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6C4F76-2A40-446B-AAFE-78B3D529E062}" v="54" dt="2022-11-16T02:01:32.19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61" autoAdjust="0"/>
    <p:restoredTop sz="94660"/>
  </p:normalViewPr>
  <p:slideViewPr>
    <p:cSldViewPr snapToGrid="0">
      <p:cViewPr varScale="1">
        <p:scale>
          <a:sx n="92" d="100"/>
          <a:sy n="92" d="100"/>
        </p:scale>
        <p:origin x="322" y="77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2.xml"/><Relationship Id="rId39" Type="http://schemas.openxmlformats.org/officeDocument/2006/relationships/slide" Target="slides/slide15.xml"/><Relationship Id="rId21" Type="http://schemas.openxmlformats.org/officeDocument/2006/relationships/customXml" Target="../customXml/item21.xml"/><Relationship Id="rId34" Type="http://schemas.openxmlformats.org/officeDocument/2006/relationships/slide" Target="slides/slide10.xml"/><Relationship Id="rId42" Type="http://schemas.openxmlformats.org/officeDocument/2006/relationships/slide" Target="slides/slide18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5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3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slide" Target="slides/slide16.xml"/><Relationship Id="rId45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7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presProps" Target="presProps.xml"/><Relationship Id="rId20" Type="http://schemas.openxmlformats.org/officeDocument/2006/relationships/customXml" Target="../customXml/item20.xml"/><Relationship Id="rId41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math, Amitha" userId="c3525f0c-0cc9-4f43-aa0c-c729584a25e9" providerId="ADAL" clId="{D36C4F76-2A40-446B-AAFE-78B3D529E062}"/>
    <pc:docChg chg="undo custSel addSld delSld modSld sldOrd modMainMaster">
      <pc:chgData name="Kamath, Amitha" userId="c3525f0c-0cc9-4f43-aa0c-c729584a25e9" providerId="ADAL" clId="{D36C4F76-2A40-446B-AAFE-78B3D529E062}" dt="2022-11-16T02:04:15.037" v="1276" actId="20577"/>
      <pc:docMkLst>
        <pc:docMk/>
      </pc:docMkLst>
      <pc:sldChg chg="add">
        <pc:chgData name="Kamath, Amitha" userId="c3525f0c-0cc9-4f43-aa0c-c729584a25e9" providerId="ADAL" clId="{D36C4F76-2A40-446B-AAFE-78B3D529E062}" dt="2022-11-16T01:20:00.133" v="409"/>
        <pc:sldMkLst>
          <pc:docMk/>
          <pc:sldMk cId="2414143950" sldId="263"/>
        </pc:sldMkLst>
      </pc:sldChg>
      <pc:sldChg chg="addSp delSp modSp add del mod">
        <pc:chgData name="Kamath, Amitha" userId="c3525f0c-0cc9-4f43-aa0c-c729584a25e9" providerId="ADAL" clId="{D36C4F76-2A40-446B-AAFE-78B3D529E062}" dt="2022-11-16T01:59:11.626" v="1144" actId="47"/>
        <pc:sldMkLst>
          <pc:docMk/>
          <pc:sldMk cId="351111750" sldId="278"/>
        </pc:sldMkLst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6" creationId="{D0D4ABB0-1F16-4062-8F4B-9AB2217957DB}"/>
          </ac:spMkLst>
        </pc:spChg>
        <pc:spChg chg="mod">
          <ac:chgData name="Kamath, Amitha" userId="c3525f0c-0cc9-4f43-aa0c-c729584a25e9" providerId="ADAL" clId="{D36C4F76-2A40-446B-AAFE-78B3D529E062}" dt="2022-11-16T01:57:48.750" v="1130" actId="1076"/>
          <ac:spMkLst>
            <pc:docMk/>
            <pc:sldMk cId="351111750" sldId="278"/>
            <ac:spMk id="8" creationId="{D3DF9A4C-BFDF-C41B-E469-D472336EFEA2}"/>
          </ac:spMkLst>
        </pc:spChg>
        <pc:spChg chg="del">
          <ac:chgData name="Kamath, Amitha" userId="c3525f0c-0cc9-4f43-aa0c-c729584a25e9" providerId="ADAL" clId="{D36C4F76-2A40-446B-AAFE-78B3D529E062}" dt="2022-11-16T01:57:41.966" v="1129" actId="478"/>
          <ac:spMkLst>
            <pc:docMk/>
            <pc:sldMk cId="351111750" sldId="278"/>
            <ac:spMk id="9" creationId="{29A06D3E-9EC2-8DA3-33DD-F5167AD93976}"/>
          </ac:spMkLst>
        </pc:spChg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10" creationId="{9BC56BEB-EE8B-4D18-BF24-DD7D517FB8BF}"/>
          </ac:spMkLst>
        </pc:spChg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11" creationId="{72ACC6F0-F90C-4362-8902-70A70C9D19C8}"/>
          </ac:spMkLst>
        </pc:spChg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12" creationId="{F44F0975-66F7-4FB4-B960-D405C1F055A9}"/>
          </ac:spMkLst>
        </pc:spChg>
        <pc:picChg chg="mod">
          <ac:chgData name="Kamath, Amitha" userId="c3525f0c-0cc9-4f43-aa0c-c729584a25e9" providerId="ADAL" clId="{D36C4F76-2A40-446B-AAFE-78B3D529E062}" dt="2022-11-16T01:57:51.967" v="1131" actId="1076"/>
          <ac:picMkLst>
            <pc:docMk/>
            <pc:sldMk cId="351111750" sldId="278"/>
            <ac:picMk id="7" creationId="{32BBFC42-203E-4B17-4BC8-A3FB86487F4B}"/>
          </ac:picMkLst>
        </pc:picChg>
      </pc:sldChg>
      <pc:sldChg chg="modSp mod">
        <pc:chgData name="Kamath, Amitha" userId="c3525f0c-0cc9-4f43-aa0c-c729584a25e9" providerId="ADAL" clId="{D36C4F76-2A40-446B-AAFE-78B3D529E062}" dt="2022-11-16T02:04:15.037" v="1276" actId="20577"/>
        <pc:sldMkLst>
          <pc:docMk/>
          <pc:sldMk cId="0" sldId="344"/>
        </pc:sldMkLst>
        <pc:spChg chg="mod">
          <ac:chgData name="Kamath, Amitha" userId="c3525f0c-0cc9-4f43-aa0c-c729584a25e9" providerId="ADAL" clId="{D36C4F76-2A40-446B-AAFE-78B3D529E062}" dt="2022-11-16T02:04:15.037" v="1276" actId="20577"/>
          <ac:spMkLst>
            <pc:docMk/>
            <pc:sldMk cId="0" sldId="344"/>
            <ac:spMk id="3" creationId="{00000000-0000-0000-0000-000000000000}"/>
          </ac:spMkLst>
        </pc:spChg>
      </pc:sldChg>
      <pc:sldChg chg="addSp modSp mod ord">
        <pc:chgData name="Kamath, Amitha" userId="c3525f0c-0cc9-4f43-aa0c-c729584a25e9" providerId="ADAL" clId="{D36C4F76-2A40-446B-AAFE-78B3D529E062}" dt="2022-11-16T02:00:34.322" v="1161" actId="1076"/>
        <pc:sldMkLst>
          <pc:docMk/>
          <pc:sldMk cId="640209904" sldId="448"/>
        </pc:sldMkLst>
        <pc:spChg chg="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3" creationId="{F02EFDEC-1C58-4504-92E1-D8E4DBCFE8FE}"/>
          </ac:spMkLst>
        </pc:spChg>
        <pc:spChg chg="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4" creationId="{E8CBF4DD-15EB-47C8-94C8-492FB092CB97}"/>
          </ac:spMkLst>
        </pc:spChg>
        <pc:spChg chg="add 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5" creationId="{06A43D26-02DA-4293-A438-DD6767786A4E}"/>
          </ac:spMkLst>
        </pc:spChg>
        <pc:spChg chg="add 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6" creationId="{D6101E28-8B9F-4E05-869C-4CBE223A4644}"/>
          </ac:spMkLst>
        </pc:spChg>
        <pc:spChg chg="add mod">
          <ac:chgData name="Kamath, Amitha" userId="c3525f0c-0cc9-4f43-aa0c-c729584a25e9" providerId="ADAL" clId="{D36C4F76-2A40-446B-AAFE-78B3D529E062}" dt="2022-11-16T01:59:00.445" v="1140" actId="1076"/>
          <ac:spMkLst>
            <pc:docMk/>
            <pc:sldMk cId="640209904" sldId="448"/>
            <ac:spMk id="9" creationId="{0047475B-04DD-42EB-B85D-A7D516E03727}"/>
          </ac:spMkLst>
        </pc:spChg>
        <pc:spChg chg="add mod">
          <ac:chgData name="Kamath, Amitha" userId="c3525f0c-0cc9-4f43-aa0c-c729584a25e9" providerId="ADAL" clId="{D36C4F76-2A40-446B-AAFE-78B3D529E062}" dt="2022-11-16T01:59:03.012" v="1141" actId="1076"/>
          <ac:spMkLst>
            <pc:docMk/>
            <pc:sldMk cId="640209904" sldId="448"/>
            <ac:spMk id="11" creationId="{63AA9E75-6978-4B80-AAAE-EE101C480F09}"/>
          </ac:spMkLst>
        </pc:spChg>
        <pc:picChg chg="add mod">
          <ac:chgData name="Kamath, Amitha" userId="c3525f0c-0cc9-4f43-aa0c-c729584a25e9" providerId="ADAL" clId="{D36C4F76-2A40-446B-AAFE-78B3D529E062}" dt="2022-11-16T02:00:34.322" v="1161" actId="1076"/>
          <ac:picMkLst>
            <pc:docMk/>
            <pc:sldMk cId="640209904" sldId="448"/>
            <ac:picMk id="7" creationId="{EF5116E6-860B-44C5-AC6D-B8F98494AC35}"/>
          </ac:picMkLst>
        </pc:picChg>
      </pc:sldChg>
      <pc:sldChg chg="addSp delSp modSp del mod addAnim delAnim">
        <pc:chgData name="Kamath, Amitha" userId="c3525f0c-0cc9-4f43-aa0c-c729584a25e9" providerId="ADAL" clId="{D36C4F76-2A40-446B-AAFE-78B3D529E062}" dt="2022-11-16T01:34:49.459" v="777" actId="47"/>
        <pc:sldMkLst>
          <pc:docMk/>
          <pc:sldMk cId="1957313595" sldId="503"/>
        </pc:sldMkLst>
        <pc:spChg chg="add mod">
          <ac:chgData name="Kamath, Amitha" userId="c3525f0c-0cc9-4f43-aa0c-c729584a25e9" providerId="ADAL" clId="{D36C4F76-2A40-446B-AAFE-78B3D529E062}" dt="2022-11-16T01:27:35.984" v="529" actId="1076"/>
          <ac:spMkLst>
            <pc:docMk/>
            <pc:sldMk cId="1957313595" sldId="503"/>
            <ac:spMk id="3" creationId="{E585AD54-3A0E-46ED-8352-E98854B246C6}"/>
          </ac:spMkLst>
        </pc:spChg>
        <pc:spChg chg="add del">
          <ac:chgData name="Kamath, Amitha" userId="c3525f0c-0cc9-4f43-aa0c-c729584a25e9" providerId="ADAL" clId="{D36C4F76-2A40-446B-AAFE-78B3D529E062}" dt="2022-11-16T01:28:27.950" v="537" actId="478"/>
          <ac:spMkLst>
            <pc:docMk/>
            <pc:sldMk cId="1957313595" sldId="503"/>
            <ac:spMk id="4" creationId="{4D75B06A-C3CA-4BC0-BD30-726B84901B10}"/>
          </ac:spMkLst>
        </pc:spChg>
        <pc:spChg chg="mod">
          <ac:chgData name="Kamath, Amitha" userId="c3525f0c-0cc9-4f43-aa0c-c729584a25e9" providerId="ADAL" clId="{D36C4F76-2A40-446B-AAFE-78B3D529E062}" dt="2022-11-16T01:27:22.727" v="526" actId="1076"/>
          <ac:spMkLst>
            <pc:docMk/>
            <pc:sldMk cId="1957313595" sldId="503"/>
            <ac:spMk id="14" creationId="{00000000-0000-0000-0000-000000000000}"/>
          </ac:spMkLst>
        </pc:spChg>
        <pc:spChg chg="add mod">
          <ac:chgData name="Kamath, Amitha" userId="c3525f0c-0cc9-4f43-aa0c-c729584a25e9" providerId="ADAL" clId="{D36C4F76-2A40-446B-AAFE-78B3D529E062}" dt="2022-11-16T01:27:15.446" v="524" actId="1076"/>
          <ac:spMkLst>
            <pc:docMk/>
            <pc:sldMk cId="1957313595" sldId="503"/>
            <ac:spMk id="32" creationId="{D6BD32C1-721C-47DF-B4D1-6D0A79B08EA3}"/>
          </ac:spMkLst>
        </pc:spChg>
        <pc:spChg chg="add mod">
          <ac:chgData name="Kamath, Amitha" userId="c3525f0c-0cc9-4f43-aa0c-c729584a25e9" providerId="ADAL" clId="{D36C4F76-2A40-446B-AAFE-78B3D529E062}" dt="2022-11-16T01:27:06.500" v="522" actId="1076"/>
          <ac:spMkLst>
            <pc:docMk/>
            <pc:sldMk cId="1957313595" sldId="503"/>
            <ac:spMk id="33" creationId="{C2914B4E-247C-4D6C-B4BA-9176D52754F5}"/>
          </ac:spMkLst>
        </pc:spChg>
        <pc:spChg chg="mod">
          <ac:chgData name="Kamath, Amitha" userId="c3525f0c-0cc9-4f43-aa0c-c729584a25e9" providerId="ADAL" clId="{D36C4F76-2A40-446B-AAFE-78B3D529E062}" dt="2022-11-16T01:27:29.173" v="528" actId="14100"/>
          <ac:spMkLst>
            <pc:docMk/>
            <pc:sldMk cId="1957313595" sldId="503"/>
            <ac:spMk id="55" creationId="{B21591EA-0D19-4E39-A326-EB79366A35DD}"/>
          </ac:spMkLst>
        </pc:spChg>
        <pc:grpChg chg="mod">
          <ac:chgData name="Kamath, Amitha" userId="c3525f0c-0cc9-4f43-aa0c-c729584a25e9" providerId="ADAL" clId="{D36C4F76-2A40-446B-AAFE-78B3D529E062}" dt="2022-11-16T01:28:27.290" v="536" actId="1076"/>
          <ac:grpSpMkLst>
            <pc:docMk/>
            <pc:sldMk cId="1957313595" sldId="503"/>
            <ac:grpSpMk id="21" creationId="{00000000-0000-0000-0000-000000000000}"/>
          </ac:grpSpMkLst>
        </pc:grpChg>
        <pc:grpChg chg="add del">
          <ac:chgData name="Kamath, Amitha" userId="c3525f0c-0cc9-4f43-aa0c-c729584a25e9" providerId="ADAL" clId="{D36C4F76-2A40-446B-AAFE-78B3D529E062}" dt="2022-11-16T01:28:29.101" v="539" actId="478"/>
          <ac:grpSpMkLst>
            <pc:docMk/>
            <pc:sldMk cId="1957313595" sldId="503"/>
            <ac:grpSpMk id="37" creationId="{9B85F259-F89C-46B7-B279-D041CCFB0002}"/>
          </ac:grpSpMkLst>
        </pc:grpChg>
        <pc:cxnChg chg="add del mod">
          <ac:chgData name="Kamath, Amitha" userId="c3525f0c-0cc9-4f43-aa0c-c729584a25e9" providerId="ADAL" clId="{D36C4F76-2A40-446B-AAFE-78B3D529E062}" dt="2022-11-16T01:28:28.535" v="538" actId="478"/>
          <ac:cxnSpMkLst>
            <pc:docMk/>
            <pc:sldMk cId="1957313595" sldId="503"/>
            <ac:cxnSpMk id="16" creationId="{00000000-0000-0000-0000-000000000000}"/>
          </ac:cxnSpMkLst>
        </pc:cxnChg>
        <pc:cxnChg chg="mod">
          <ac:chgData name="Kamath, Amitha" userId="c3525f0c-0cc9-4f43-aa0c-c729584a25e9" providerId="ADAL" clId="{D36C4F76-2A40-446B-AAFE-78B3D529E062}" dt="2022-11-16T01:28:27.290" v="536" actId="1076"/>
          <ac:cxnSpMkLst>
            <pc:docMk/>
            <pc:sldMk cId="1957313595" sldId="503"/>
            <ac:cxnSpMk id="17" creationId="{00000000-0000-0000-0000-000000000000}"/>
          </ac:cxnSpMkLst>
        </pc:cxnChg>
      </pc:sldChg>
      <pc:sldChg chg="addSp delSp modSp add mod">
        <pc:chgData name="Kamath, Amitha" userId="c3525f0c-0cc9-4f43-aa0c-c729584a25e9" providerId="ADAL" clId="{D36C4F76-2A40-446B-AAFE-78B3D529E062}" dt="2022-11-16T02:01:50.155" v="1182" actId="1076"/>
        <pc:sldMkLst>
          <pc:docMk/>
          <pc:sldMk cId="2940279639" sldId="6635"/>
        </pc:sldMkLst>
        <pc:spChg chg="mod">
          <ac:chgData name="Kamath, Amitha" userId="c3525f0c-0cc9-4f43-aa0c-c729584a25e9" providerId="ADAL" clId="{D36C4F76-2A40-446B-AAFE-78B3D529E062}" dt="2022-11-16T02:01:50.155" v="1182" actId="1076"/>
          <ac:spMkLst>
            <pc:docMk/>
            <pc:sldMk cId="2940279639" sldId="6635"/>
            <ac:spMk id="2" creationId="{00000000-0000-0000-0000-000000000000}"/>
          </ac:spMkLst>
        </pc:spChg>
        <pc:spChg chg="mod">
          <ac:chgData name="Kamath, Amitha" userId="c3525f0c-0cc9-4f43-aa0c-c729584a25e9" providerId="ADAL" clId="{D36C4F76-2A40-446B-AAFE-78B3D529E062}" dt="2022-11-16T02:01:46.358" v="1181" actId="1076"/>
          <ac:spMkLst>
            <pc:docMk/>
            <pc:sldMk cId="2940279639" sldId="6635"/>
            <ac:spMk id="3" creationId="{00000000-0000-0000-0000-000000000000}"/>
          </ac:spMkLst>
        </pc:spChg>
        <pc:spChg chg="add del">
          <ac:chgData name="Kamath, Amitha" userId="c3525f0c-0cc9-4f43-aa0c-c729584a25e9" providerId="ADAL" clId="{D36C4F76-2A40-446B-AAFE-78B3D529E062}" dt="2022-11-16T01:17:51.802" v="405" actId="22"/>
          <ac:spMkLst>
            <pc:docMk/>
            <pc:sldMk cId="2940279639" sldId="6635"/>
            <ac:spMk id="9" creationId="{B278370C-4FF7-422F-A348-7208399A1D11}"/>
          </ac:spMkLst>
        </pc:spChg>
        <pc:spChg chg="add del">
          <ac:chgData name="Kamath, Amitha" userId="c3525f0c-0cc9-4f43-aa0c-c729584a25e9" providerId="ADAL" clId="{D36C4F76-2A40-446B-AAFE-78B3D529E062}" dt="2022-11-16T01:18:07.201" v="407" actId="22"/>
          <ac:spMkLst>
            <pc:docMk/>
            <pc:sldMk cId="2940279639" sldId="6635"/>
            <ac:spMk id="11" creationId="{00D470E0-1D67-4781-81E1-3570275033A7}"/>
          </ac:spMkLst>
        </pc:spChg>
        <pc:picChg chg="add">
          <ac:chgData name="Kamath, Amitha" userId="c3525f0c-0cc9-4f43-aa0c-c729584a25e9" providerId="ADAL" clId="{D36C4F76-2A40-446B-AAFE-78B3D529E062}" dt="2022-11-16T01:16:36.489" v="401" actId="22"/>
          <ac:picMkLst>
            <pc:docMk/>
            <pc:sldMk cId="2940279639" sldId="6635"/>
            <ac:picMk id="5" creationId="{0D86FE3F-5558-48D6-B8A9-228B2CB57715}"/>
          </ac:picMkLst>
        </pc:picChg>
        <pc:picChg chg="add del">
          <ac:chgData name="Kamath, Amitha" userId="c3525f0c-0cc9-4f43-aa0c-c729584a25e9" providerId="ADAL" clId="{D36C4F76-2A40-446B-AAFE-78B3D529E062}" dt="2022-11-16T01:16:43.126" v="403" actId="22"/>
          <ac:picMkLst>
            <pc:docMk/>
            <pc:sldMk cId="2940279639" sldId="6635"/>
            <ac:picMk id="7" creationId="{E9C19BF9-BA7B-4F7E-A479-A4637B9BA25C}"/>
          </ac:picMkLst>
        </pc:picChg>
      </pc:sldChg>
      <pc:sldChg chg="modSp add mod">
        <pc:chgData name="Kamath, Amitha" userId="c3525f0c-0cc9-4f43-aa0c-c729584a25e9" providerId="ADAL" clId="{D36C4F76-2A40-446B-AAFE-78B3D529E062}" dt="2022-11-16T02:03:42.652" v="1251" actId="20577"/>
        <pc:sldMkLst>
          <pc:docMk/>
          <pc:sldMk cId="4274636493" sldId="2146849412"/>
        </pc:sldMkLst>
        <pc:spChg chg="mod">
          <ac:chgData name="Kamath, Amitha" userId="c3525f0c-0cc9-4f43-aa0c-c729584a25e9" providerId="ADAL" clId="{D36C4F76-2A40-446B-AAFE-78B3D529E062}" dt="2022-11-16T02:03:28.530" v="1245" actId="20577"/>
          <ac:spMkLst>
            <pc:docMk/>
            <pc:sldMk cId="4274636493" sldId="2146849412"/>
            <ac:spMk id="3" creationId="{9F644F3B-2A41-5542-AFD4-FC75F7DC3C69}"/>
          </ac:spMkLst>
        </pc:spChg>
        <pc:spChg chg="mod">
          <ac:chgData name="Kamath, Amitha" userId="c3525f0c-0cc9-4f43-aa0c-c729584a25e9" providerId="ADAL" clId="{D36C4F76-2A40-446B-AAFE-78B3D529E062}" dt="2022-11-16T02:03:42.652" v="1251" actId="20577"/>
          <ac:spMkLst>
            <pc:docMk/>
            <pc:sldMk cId="4274636493" sldId="2146849412"/>
            <ac:spMk id="24" creationId="{00000000-0000-0000-0000-000000000000}"/>
          </ac:spMkLst>
        </pc:spChg>
      </pc:sldChg>
      <pc:sldChg chg="del">
        <pc:chgData name="Kamath, Amitha" userId="c3525f0c-0cc9-4f43-aa0c-c729584a25e9" providerId="ADAL" clId="{D36C4F76-2A40-446B-AAFE-78B3D529E062}" dt="2022-11-16T01:40:34.469" v="798" actId="47"/>
        <pc:sldMkLst>
          <pc:docMk/>
          <pc:sldMk cId="2236372703" sldId="2147375411"/>
        </pc:sldMkLst>
      </pc:sldChg>
      <pc:sldChg chg="modAnim">
        <pc:chgData name="Kamath, Amitha" userId="c3525f0c-0cc9-4f43-aa0c-c729584a25e9" providerId="ADAL" clId="{D36C4F76-2A40-446B-AAFE-78B3D529E062}" dt="2022-11-16T02:01:32.196" v="1180"/>
        <pc:sldMkLst>
          <pc:docMk/>
          <pc:sldMk cId="2610662271" sldId="2147376416"/>
        </pc:sldMkLst>
      </pc:sldChg>
      <pc:sldChg chg="modSp mod">
        <pc:chgData name="Kamath, Amitha" userId="c3525f0c-0cc9-4f43-aa0c-c729584a25e9" providerId="ADAL" clId="{D36C4F76-2A40-446B-AAFE-78B3D529E062}" dt="2022-11-16T01:53:21.324" v="977" actId="20577"/>
        <pc:sldMkLst>
          <pc:docMk/>
          <pc:sldMk cId="3493974927" sldId="2147376459"/>
        </pc:sldMkLst>
        <pc:spChg chg="mod">
          <ac:chgData name="Kamath, Amitha" userId="c3525f0c-0cc9-4f43-aa0c-c729584a25e9" providerId="ADAL" clId="{D36C4F76-2A40-446B-AAFE-78B3D529E062}" dt="2022-11-16T01:53:21.324" v="977" actId="20577"/>
          <ac:spMkLst>
            <pc:docMk/>
            <pc:sldMk cId="3493974927" sldId="2147376459"/>
            <ac:spMk id="2" creationId="{DD745F6F-2E8F-D149-A6AA-1413E28929EA}"/>
          </ac:spMkLst>
        </pc:spChg>
      </pc:sldChg>
      <pc:sldChg chg="modSp mod">
        <pc:chgData name="Kamath, Amitha" userId="c3525f0c-0cc9-4f43-aa0c-c729584a25e9" providerId="ADAL" clId="{D36C4F76-2A40-446B-AAFE-78B3D529E062}" dt="2022-11-16T02:04:03.674" v="1275" actId="20577"/>
        <pc:sldMkLst>
          <pc:docMk/>
          <pc:sldMk cId="103903315" sldId="2147376460"/>
        </pc:sldMkLst>
        <pc:spChg chg="mod">
          <ac:chgData name="Kamath, Amitha" userId="c3525f0c-0cc9-4f43-aa0c-c729584a25e9" providerId="ADAL" clId="{D36C4F76-2A40-446B-AAFE-78B3D529E062}" dt="2022-11-16T02:04:03.674" v="1275" actId="20577"/>
          <ac:spMkLst>
            <pc:docMk/>
            <pc:sldMk cId="103903315" sldId="2147376460"/>
            <ac:spMk id="3" creationId="{6EC46871-C60A-0B74-6C0B-9FC12D31CEDB}"/>
          </ac:spMkLst>
        </pc:spChg>
      </pc:sldChg>
      <pc:sldChg chg="delSp modSp del mod ord">
        <pc:chgData name="Kamath, Amitha" userId="c3525f0c-0cc9-4f43-aa0c-c729584a25e9" providerId="ADAL" clId="{D36C4F76-2A40-446B-AAFE-78B3D529E062}" dt="2022-11-16T01:52:13.974" v="965" actId="47"/>
        <pc:sldMkLst>
          <pc:docMk/>
          <pc:sldMk cId="2666079488" sldId="2147377031"/>
        </pc:sldMkLst>
        <pc:spChg chg="mod">
          <ac:chgData name="Kamath, Amitha" userId="c3525f0c-0cc9-4f43-aa0c-c729584a25e9" providerId="ADAL" clId="{D36C4F76-2A40-446B-AAFE-78B3D529E062}" dt="2022-11-12T15:44:49.286" v="14" actId="20577"/>
          <ac:spMkLst>
            <pc:docMk/>
            <pc:sldMk cId="2666079488" sldId="2147377031"/>
            <ac:spMk id="3" creationId="{BC2AF366-313E-D342-A576-F28FD6C9A8C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7" creationId="{B26129CA-9004-466E-B288-9B39CC8F446B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9" creationId="{7EA4B837-1638-40E8-BEA5-5A83C1638C0B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13" creationId="{56AB2EDE-C2F0-4590-B935-CD15E55E5FAD}"/>
          </ac:spMkLst>
        </pc:spChg>
        <pc:spChg chg="mod">
          <ac:chgData name="Kamath, Amitha" userId="c3525f0c-0cc9-4f43-aa0c-c729584a25e9" providerId="ADAL" clId="{D36C4F76-2A40-446B-AAFE-78B3D529E062}" dt="2022-11-16T01:35:31.207" v="795" actId="1076"/>
          <ac:spMkLst>
            <pc:docMk/>
            <pc:sldMk cId="2666079488" sldId="2147377031"/>
            <ac:spMk id="16" creationId="{7C8FBF53-3574-4279-860F-B0DB265CAFCF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17" creationId="{AD2ED3CA-D6C1-4A2D-A878-FCF94166EC9B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18" creationId="{86D60BD4-66A9-4E6E-8F83-B558CF063B1F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21" creationId="{730A83F8-0554-43FF-80D4-CC2E61DF6804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22" creationId="{0C810D29-F142-43E6-BB0E-D616A9FB4CFC}"/>
          </ac:spMkLst>
        </pc:spChg>
        <pc:spChg chg="mod">
          <ac:chgData name="Kamath, Amitha" userId="c3525f0c-0cc9-4f43-aa0c-c729584a25e9" providerId="ADAL" clId="{D36C4F76-2A40-446B-AAFE-78B3D529E062}" dt="2022-11-16T01:13:07.545" v="332" actId="1076"/>
          <ac:spMkLst>
            <pc:docMk/>
            <pc:sldMk cId="2666079488" sldId="2147377031"/>
            <ac:spMk id="24" creationId="{91232BB5-E36D-46CB-9118-6D2912C8F2AD}"/>
          </ac:spMkLst>
        </pc:spChg>
        <pc:spChg chg="mod">
          <ac:chgData name="Kamath, Amitha" userId="c3525f0c-0cc9-4f43-aa0c-c729584a25e9" providerId="ADAL" clId="{D36C4F76-2A40-446B-AAFE-78B3D529E062}" dt="2022-11-12T15:45:29.388" v="17" actId="255"/>
          <ac:spMkLst>
            <pc:docMk/>
            <pc:sldMk cId="2666079488" sldId="2147377031"/>
            <ac:spMk id="25" creationId="{8D7A0538-7C23-4519-98A4-79C94987FA9D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46" creationId="{5D6936EE-4351-496C-A590-004BF68B609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49" creationId="{2D137414-07CA-47AA-ABEF-8364D147BB77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1" creationId="{AB767D29-E75A-4ED5-AC82-6FC65DB41CB4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2" creationId="{C3AB7AD6-40EE-408A-B8EA-C2312A944CC4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3" creationId="{37A705FF-28BE-4CC4-A6B8-44F6D4054C0D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5" creationId="{17A2DC66-4171-406D-BFB6-D59826750369}"/>
          </ac:spMkLst>
        </pc:spChg>
        <pc:spChg chg="mod">
          <ac:chgData name="Kamath, Amitha" userId="c3525f0c-0cc9-4f43-aa0c-c729584a25e9" providerId="ADAL" clId="{D36C4F76-2A40-446B-AAFE-78B3D529E062}" dt="2022-11-12T15:45:36.428" v="18" actId="2711"/>
          <ac:spMkLst>
            <pc:docMk/>
            <pc:sldMk cId="2666079488" sldId="2147377031"/>
            <ac:spMk id="57" creationId="{D1F37FB4-357C-4D4B-9114-BBEA44DF31E2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8" creationId="{7F22FE8E-EE26-48C3-B189-2703D225C62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1" creationId="{AF9268B1-30CB-4524-92C0-26770E60B875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2" creationId="{95CA366A-BFE0-498B-B0EC-FF91F8F867E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3" creationId="{E2C4462D-CFB3-45D0-8CB0-C0F34C5FF8F7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4" creationId="{0BEFAF4A-D62D-4C79-9D2D-5955BE7F36C4}"/>
          </ac:spMkLst>
        </pc:spChg>
        <pc:spChg chg="del">
          <ac:chgData name="Kamath, Amitha" userId="c3525f0c-0cc9-4f43-aa0c-c729584a25e9" providerId="ADAL" clId="{D36C4F76-2A40-446B-AAFE-78B3D529E062}" dt="2022-11-16T01:35:05.808" v="779" actId="478"/>
          <ac:spMkLst>
            <pc:docMk/>
            <pc:sldMk cId="2666079488" sldId="2147377031"/>
            <ac:spMk id="65" creationId="{20399A54-EC54-41D3-B2C7-0385FBCE1244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6" creationId="{FDE62D95-61C8-4999-A303-623A68E77DBE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7" creationId="{C900288A-1E22-4E79-B285-8EA4297B5F48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77" creationId="{FC1554CC-46E3-4445-A308-5262FFEA00E5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86" creationId="{5DB6C586-43AE-42B4-8D7D-4A5FCD5F4A22}"/>
          </ac:spMkLst>
        </pc:spChg>
        <pc:grpChg chg="mod">
          <ac:chgData name="Kamath, Amitha" userId="c3525f0c-0cc9-4f43-aa0c-c729584a25e9" providerId="ADAL" clId="{D36C4F76-2A40-446B-AAFE-78B3D529E062}" dt="2022-11-16T01:35:25.236" v="793" actId="1076"/>
          <ac:grpSpMkLst>
            <pc:docMk/>
            <pc:sldMk cId="2666079488" sldId="2147377031"/>
            <ac:grpSpMk id="2" creationId="{DDD6B219-6BC2-45CF-BC89-1A393BF9CC55}"/>
          </ac:grpSpMkLst>
        </pc:grpChg>
        <pc:grpChg chg="mod">
          <ac:chgData name="Kamath, Amitha" userId="c3525f0c-0cc9-4f43-aa0c-c729584a25e9" providerId="ADAL" clId="{D36C4F76-2A40-446B-AAFE-78B3D529E062}" dt="2022-11-12T15:45:55.875" v="24" actId="1036"/>
          <ac:grpSpMkLst>
            <pc:docMk/>
            <pc:sldMk cId="2666079488" sldId="2147377031"/>
            <ac:grpSpMk id="6" creationId="{CFDB2B4B-0884-402C-AD3F-A97DE4CCD0C1}"/>
          </ac:grpSpMkLst>
        </pc:grp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5" creationId="{9A7E2B91-4D59-450C-A0EC-5DCE1050CF0F}"/>
          </ac:picMkLst>
        </pc:picChg>
        <pc:picChg chg="del">
          <ac:chgData name="Kamath, Amitha" userId="c3525f0c-0cc9-4f43-aa0c-c729584a25e9" providerId="ADAL" clId="{D36C4F76-2A40-446B-AAFE-78B3D529E062}" dt="2022-11-16T01:35:03.654" v="778" actId="478"/>
          <ac:picMkLst>
            <pc:docMk/>
            <pc:sldMk cId="2666079488" sldId="2147377031"/>
            <ac:picMk id="20" creationId="{A92D5FCC-4E68-4354-9422-3BB8A099FA93}"/>
          </ac:picMkLst>
        </pc:pic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59" creationId="{ACD87257-3AC9-4D55-AFD0-4C140D4680EA}"/>
          </ac:picMkLst>
        </pc:pic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60" creationId="{DFAAB51C-9D92-4079-9563-9DBD14BF27EB}"/>
          </ac:picMkLst>
        </pc:pic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89" creationId="{52027207-9CA2-4467-A3AC-17D7A4A83861}"/>
          </ac:picMkLst>
        </pc:picChg>
        <pc:cxnChg chg="mod">
          <ac:chgData name="Kamath, Amitha" userId="c3525f0c-0cc9-4f43-aa0c-c729584a25e9" providerId="ADAL" clId="{D36C4F76-2A40-446B-AAFE-78B3D529E062}" dt="2022-11-12T15:45:55.875" v="24" actId="1036"/>
          <ac:cxnSpMkLst>
            <pc:docMk/>
            <pc:sldMk cId="2666079488" sldId="2147377031"/>
            <ac:cxnSpMk id="15" creationId="{D115D3EB-0A68-40B8-B7DB-E2BF5513DE00}"/>
          </ac:cxnSpMkLst>
        </pc:cxnChg>
        <pc:cxnChg chg="mod">
          <ac:chgData name="Kamath, Amitha" userId="c3525f0c-0cc9-4f43-aa0c-c729584a25e9" providerId="ADAL" clId="{D36C4F76-2A40-446B-AAFE-78B3D529E062}" dt="2022-11-12T15:45:55.875" v="24" actId="1036"/>
          <ac:cxnSpMkLst>
            <pc:docMk/>
            <pc:sldMk cId="2666079488" sldId="2147377031"/>
            <ac:cxnSpMk id="78" creationId="{68CAD7E1-6B6E-404A-A3B0-1E5F19F0AD2E}"/>
          </ac:cxnSpMkLst>
        </pc:cxnChg>
      </pc:sldChg>
      <pc:sldChg chg="add del">
        <pc:chgData name="Kamath, Amitha" userId="c3525f0c-0cc9-4f43-aa0c-c729584a25e9" providerId="ADAL" clId="{D36C4F76-2A40-446B-AAFE-78B3D529E062}" dt="2022-11-16T01:28:27.101" v="535" actId="2890"/>
        <pc:sldMkLst>
          <pc:docMk/>
          <pc:sldMk cId="1959823160" sldId="2147377033"/>
        </pc:sldMkLst>
      </pc:sldChg>
      <pc:sldChg chg="addSp delSp modSp add mod ord delAnim modAnim">
        <pc:chgData name="Kamath, Amitha" userId="c3525f0c-0cc9-4f43-aa0c-c729584a25e9" providerId="ADAL" clId="{D36C4F76-2A40-446B-AAFE-78B3D529E062}" dt="2022-11-16T02:01:15.028" v="1168"/>
        <pc:sldMkLst>
          <pc:docMk/>
          <pc:sldMk cId="4018931925" sldId="2147377033"/>
        </pc:sldMkLst>
        <pc:spChg chg="mod">
          <ac:chgData name="Kamath, Amitha" userId="c3525f0c-0cc9-4f43-aa0c-c729584a25e9" providerId="ADAL" clId="{D36C4F76-2A40-446B-AAFE-78B3D529E062}" dt="2022-11-16T01:47:55.103" v="896"/>
          <ac:spMkLst>
            <pc:docMk/>
            <pc:sldMk cId="4018931925" sldId="2147377033"/>
            <ac:spMk id="3" creationId="{E585AD54-3A0E-46ED-8352-E98854B246C6}"/>
          </ac:spMkLst>
        </pc:spChg>
        <pc:spChg chg="del mod">
          <ac:chgData name="Kamath, Amitha" userId="c3525f0c-0cc9-4f43-aa0c-c729584a25e9" providerId="ADAL" clId="{D36C4F76-2A40-446B-AAFE-78B3D529E062}" dt="2022-11-16T01:28:53.010" v="545" actId="478"/>
          <ac:spMkLst>
            <pc:docMk/>
            <pc:sldMk cId="4018931925" sldId="2147377033"/>
            <ac:spMk id="4" creationId="{4D75B06A-C3CA-4BC0-BD30-726B84901B10}"/>
          </ac:spMkLst>
        </pc:spChg>
        <pc:spChg chg="add mod">
          <ac:chgData name="Kamath, Amitha" userId="c3525f0c-0cc9-4f43-aa0c-c729584a25e9" providerId="ADAL" clId="{D36C4F76-2A40-446B-AAFE-78B3D529E062}" dt="2022-11-16T01:42:34.828" v="871" actId="20577"/>
          <ac:spMkLst>
            <pc:docMk/>
            <pc:sldMk cId="4018931925" sldId="2147377033"/>
            <ac:spMk id="8" creationId="{4831808A-0FA4-4202-A79B-DDC43F3AC715}"/>
          </ac:spMkLst>
        </pc:spChg>
        <pc:spChg chg="topLvl">
          <ac:chgData name="Kamath, Amitha" userId="c3525f0c-0cc9-4f43-aa0c-c729584a25e9" providerId="ADAL" clId="{D36C4F76-2A40-446B-AAFE-78B3D529E062}" dt="2022-11-16T01:49:38.006" v="908" actId="478"/>
          <ac:spMkLst>
            <pc:docMk/>
            <pc:sldMk cId="4018931925" sldId="2147377033"/>
            <ac:spMk id="13" creationId="{00000000-0000-0000-0000-000000000000}"/>
          </ac:spMkLst>
        </pc:spChg>
        <pc:spChg chg="del mod topLvl">
          <ac:chgData name="Kamath, Amitha" userId="c3525f0c-0cc9-4f43-aa0c-c729584a25e9" providerId="ADAL" clId="{D36C4F76-2A40-446B-AAFE-78B3D529E062}" dt="2022-11-16T01:49:38.006" v="908" actId="478"/>
          <ac:spMkLst>
            <pc:docMk/>
            <pc:sldMk cId="4018931925" sldId="2147377033"/>
            <ac:spMk id="14" creationId="{00000000-0000-0000-0000-000000000000}"/>
          </ac:spMkLst>
        </pc:spChg>
        <pc:spChg chg="add del">
          <ac:chgData name="Kamath, Amitha" userId="c3525f0c-0cc9-4f43-aa0c-c729584a25e9" providerId="ADAL" clId="{D36C4F76-2A40-446B-AAFE-78B3D529E062}" dt="2022-11-16T01:48:18.944" v="898" actId="478"/>
          <ac:spMkLst>
            <pc:docMk/>
            <pc:sldMk cId="4018931925" sldId="2147377033"/>
            <ac:spMk id="15" creationId="{B763BF30-E36C-475E-A914-B14802799D39}"/>
          </ac:spMkLst>
        </pc:spChg>
        <pc:spChg chg="add del mod">
          <ac:chgData name="Kamath, Amitha" userId="c3525f0c-0cc9-4f43-aa0c-c729584a25e9" providerId="ADAL" clId="{D36C4F76-2A40-446B-AAFE-78B3D529E062}" dt="2022-11-16T01:51:04.668" v="936" actId="478"/>
          <ac:spMkLst>
            <pc:docMk/>
            <pc:sldMk cId="4018931925" sldId="2147377033"/>
            <ac:spMk id="18" creationId="{8836A27A-0EC0-4603-8185-CD4C7535A9A7}"/>
          </ac:spMkLst>
        </pc:spChg>
        <pc:spChg chg="add del mod">
          <ac:chgData name="Kamath, Amitha" userId="c3525f0c-0cc9-4f43-aa0c-c729584a25e9" providerId="ADAL" clId="{D36C4F76-2A40-446B-AAFE-78B3D529E062}" dt="2022-11-16T01:51:07.505" v="937" actId="478"/>
          <ac:spMkLst>
            <pc:docMk/>
            <pc:sldMk cId="4018931925" sldId="2147377033"/>
            <ac:spMk id="19" creationId="{EE3921DB-9072-466D-9F59-EB18B9ABF21B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31" creationId="{00000000-0000-0000-0000-000000000000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32" creationId="{D6BD32C1-721C-47DF-B4D1-6D0A79B08EA3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33" creationId="{C2914B4E-247C-4D6C-B4BA-9176D52754F5}"/>
          </ac:spMkLst>
        </pc:spChg>
        <pc:spChg chg="mod topLvl">
          <ac:chgData name="Kamath, Amitha" userId="c3525f0c-0cc9-4f43-aa0c-c729584a25e9" providerId="ADAL" clId="{D36C4F76-2A40-446B-AAFE-78B3D529E062}" dt="2022-11-16T01:34:05.429" v="756" actId="6549"/>
          <ac:spMkLst>
            <pc:docMk/>
            <pc:sldMk cId="4018931925" sldId="2147377033"/>
            <ac:spMk id="35" creationId="{9359305F-DA17-40AB-AB73-CB690B353F9D}"/>
          </ac:spMkLst>
        </pc:spChg>
        <pc:spChg chg="del mod topLvl">
          <ac:chgData name="Kamath, Amitha" userId="c3525f0c-0cc9-4f43-aa0c-c729584a25e9" providerId="ADAL" clId="{D36C4F76-2A40-446B-AAFE-78B3D529E062}" dt="2022-11-16T01:29:23.056" v="642" actId="478"/>
          <ac:spMkLst>
            <pc:docMk/>
            <pc:sldMk cId="4018931925" sldId="2147377033"/>
            <ac:spMk id="36" creationId="{917119EE-02AC-46B0-85AC-5B571E59FEE9}"/>
          </ac:spMkLst>
        </pc:spChg>
        <pc:spChg chg="add mod">
          <ac:chgData name="Kamath, Amitha" userId="c3525f0c-0cc9-4f43-aa0c-c729584a25e9" providerId="ADAL" clId="{D36C4F76-2A40-446B-AAFE-78B3D529E062}" dt="2022-11-16T01:51:42.146" v="954" actId="20577"/>
          <ac:spMkLst>
            <pc:docMk/>
            <pc:sldMk cId="4018931925" sldId="2147377033"/>
            <ac:spMk id="45" creationId="{BCC7DA79-9B5B-4D2A-BE2B-66061BAC999C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46" creationId="{00000000-0000-0000-0000-000000000000}"/>
          </ac:spMkLst>
        </pc:spChg>
        <pc:spChg chg="add del mod">
          <ac:chgData name="Kamath, Amitha" userId="c3525f0c-0cc9-4f43-aa0c-c729584a25e9" providerId="ADAL" clId="{D36C4F76-2A40-446B-AAFE-78B3D529E062}" dt="2022-11-16T01:51:15.469" v="941" actId="478"/>
          <ac:spMkLst>
            <pc:docMk/>
            <pc:sldMk cId="4018931925" sldId="2147377033"/>
            <ac:spMk id="47" creationId="{C440C2C3-2427-47FC-9CAA-580D68B77C7B}"/>
          </ac:spMkLst>
        </pc:spChg>
        <pc:spChg chg="add del mod">
          <ac:chgData name="Kamath, Amitha" userId="c3525f0c-0cc9-4f43-aa0c-c729584a25e9" providerId="ADAL" clId="{D36C4F76-2A40-446B-AAFE-78B3D529E062}" dt="2022-11-16T01:51:26.569" v="944" actId="478"/>
          <ac:spMkLst>
            <pc:docMk/>
            <pc:sldMk cId="4018931925" sldId="2147377033"/>
            <ac:spMk id="48" creationId="{1C892664-61C2-4D8B-AA02-DF014DAFD241}"/>
          </ac:spMkLst>
        </pc:spChg>
        <pc:spChg chg="add del mod">
          <ac:chgData name="Kamath, Amitha" userId="c3525f0c-0cc9-4f43-aa0c-c729584a25e9" providerId="ADAL" clId="{D36C4F76-2A40-446B-AAFE-78B3D529E062}" dt="2022-11-16T01:51:21.076" v="942" actId="478"/>
          <ac:spMkLst>
            <pc:docMk/>
            <pc:sldMk cId="4018931925" sldId="2147377033"/>
            <ac:spMk id="49" creationId="{31491584-6227-43D2-A671-751E4AA45819}"/>
          </ac:spMkLst>
        </pc:spChg>
        <pc:spChg chg="add del mod">
          <ac:chgData name="Kamath, Amitha" userId="c3525f0c-0cc9-4f43-aa0c-c729584a25e9" providerId="ADAL" clId="{D36C4F76-2A40-446B-AAFE-78B3D529E062}" dt="2022-11-16T01:51:23.941" v="943" actId="478"/>
          <ac:spMkLst>
            <pc:docMk/>
            <pc:sldMk cId="4018931925" sldId="2147377033"/>
            <ac:spMk id="50" creationId="{A9F3FFD5-5094-40B9-B44C-F52A6937C181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54" creationId="{00000000-0000-0000-0000-000000000000}"/>
          </ac:spMkLst>
        </pc:spChg>
        <pc:spChg chg="add del mod">
          <ac:chgData name="Kamath, Amitha" userId="c3525f0c-0cc9-4f43-aa0c-c729584a25e9" providerId="ADAL" clId="{D36C4F76-2A40-446B-AAFE-78B3D529E062}" dt="2022-11-16T01:51:12.040" v="940" actId="478"/>
          <ac:spMkLst>
            <pc:docMk/>
            <pc:sldMk cId="4018931925" sldId="2147377033"/>
            <ac:spMk id="55" creationId="{B21591EA-0D19-4E39-A326-EB79366A35DD}"/>
          </ac:spMkLst>
        </pc:spChg>
        <pc:spChg chg="mod">
          <ac:chgData name="Kamath, Amitha" userId="c3525f0c-0cc9-4f43-aa0c-c729584a25e9" providerId="ADAL" clId="{D36C4F76-2A40-446B-AAFE-78B3D529E062}" dt="2022-11-16T01:33:01.340" v="733" actId="1076"/>
          <ac:spMkLst>
            <pc:docMk/>
            <pc:sldMk cId="4018931925" sldId="2147377033"/>
            <ac:spMk id="56" creationId="{9571E01D-11F1-4B29-802A-2E5DD6FC8B36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67" creationId="{00000000-0000-0000-0000-000000000000}"/>
          </ac:spMkLst>
        </pc:spChg>
        <pc:spChg chg="mod">
          <ac:chgData name="Kamath, Amitha" userId="c3525f0c-0cc9-4f43-aa0c-c729584a25e9" providerId="ADAL" clId="{D36C4F76-2A40-446B-AAFE-78B3D529E062}" dt="2022-11-16T01:34:41.582" v="776" actId="1076"/>
          <ac:spMkLst>
            <pc:docMk/>
            <pc:sldMk cId="4018931925" sldId="2147377033"/>
            <ac:spMk id="70" creationId="{00000000-0000-0000-0000-000000000000}"/>
          </ac:spMkLst>
        </pc:spChg>
        <pc:grpChg chg="del">
          <ac:chgData name="Kamath, Amitha" userId="c3525f0c-0cc9-4f43-aa0c-c729584a25e9" providerId="ADAL" clId="{D36C4F76-2A40-446B-AAFE-78B3D529E062}" dt="2022-11-16T01:28:48.298" v="544" actId="478"/>
          <ac:grpSpMkLst>
            <pc:docMk/>
            <pc:sldMk cId="4018931925" sldId="2147377033"/>
            <ac:grpSpMk id="21" creationId="{00000000-0000-0000-0000-000000000000}"/>
          </ac:grpSpMkLst>
        </pc:grpChg>
        <pc:grpChg chg="add del mod">
          <ac:chgData name="Kamath, Amitha" userId="c3525f0c-0cc9-4f43-aa0c-c729584a25e9" providerId="ADAL" clId="{D36C4F76-2A40-446B-AAFE-78B3D529E062}" dt="2022-11-16T01:29:23.056" v="642" actId="478"/>
          <ac:grpSpMkLst>
            <pc:docMk/>
            <pc:sldMk cId="4018931925" sldId="2147377033"/>
            <ac:grpSpMk id="34" creationId="{A6821892-DDAF-415A-A274-183CB373B736}"/>
          </ac:grpSpMkLst>
        </pc:grpChg>
        <pc:grpChg chg="del mod">
          <ac:chgData name="Kamath, Amitha" userId="c3525f0c-0cc9-4f43-aa0c-c729584a25e9" providerId="ADAL" clId="{D36C4F76-2A40-446B-AAFE-78B3D529E062}" dt="2022-11-16T01:28:42.769" v="542" actId="478"/>
          <ac:grpSpMkLst>
            <pc:docMk/>
            <pc:sldMk cId="4018931925" sldId="2147377033"/>
            <ac:grpSpMk id="37" creationId="{9B85F259-F89C-46B7-B279-D041CCFB0002}"/>
          </ac:grpSpMkLst>
        </pc:grpChg>
        <pc:grpChg chg="del mod">
          <ac:chgData name="Kamath, Amitha" userId="c3525f0c-0cc9-4f43-aa0c-c729584a25e9" providerId="ADAL" clId="{D36C4F76-2A40-446B-AAFE-78B3D529E062}" dt="2022-11-16T01:49:38.006" v="908" actId="478"/>
          <ac:grpSpMkLst>
            <pc:docMk/>
            <pc:sldMk cId="4018931925" sldId="2147377033"/>
            <ac:grpSpMk id="53" creationId="{00000000-0000-0000-0000-000000000000}"/>
          </ac:grpSpMkLst>
        </pc:grpChg>
        <pc:cxnChg chg="del mod">
          <ac:chgData name="Kamath, Amitha" userId="c3525f0c-0cc9-4f43-aa0c-c729584a25e9" providerId="ADAL" clId="{D36C4F76-2A40-446B-AAFE-78B3D529E062}" dt="2022-11-16T01:28:48.298" v="544" actId="478"/>
          <ac:cxnSpMkLst>
            <pc:docMk/>
            <pc:sldMk cId="4018931925" sldId="2147377033"/>
            <ac:cxnSpMk id="16" creationId="{00000000-0000-0000-0000-000000000000}"/>
          </ac:cxnSpMkLst>
        </pc:cxnChg>
        <pc:cxnChg chg="del mod">
          <ac:chgData name="Kamath, Amitha" userId="c3525f0c-0cc9-4f43-aa0c-c729584a25e9" providerId="ADAL" clId="{D36C4F76-2A40-446B-AAFE-78B3D529E062}" dt="2022-11-16T01:28:48.298" v="544" actId="478"/>
          <ac:cxnSpMkLst>
            <pc:docMk/>
            <pc:sldMk cId="4018931925" sldId="2147377033"/>
            <ac:cxnSpMk id="17" creationId="{00000000-0000-0000-0000-000000000000}"/>
          </ac:cxnSpMkLst>
        </pc:cxnChg>
        <pc:cxnChg chg="mod">
          <ac:chgData name="Kamath, Amitha" userId="c3525f0c-0cc9-4f43-aa0c-c729584a25e9" providerId="ADAL" clId="{D36C4F76-2A40-446B-AAFE-78B3D529E062}" dt="2022-11-16T01:32:49.332" v="731" actId="1076"/>
          <ac:cxnSpMkLst>
            <pc:docMk/>
            <pc:sldMk cId="4018931925" sldId="2147377033"/>
            <ac:cxnSpMk id="28" creationId="{CF466959-00F0-41B6-A300-C1E7009A4141}"/>
          </ac:cxnSpMkLst>
        </pc:cxnChg>
        <pc:cxnChg chg="mod">
          <ac:chgData name="Kamath, Amitha" userId="c3525f0c-0cc9-4f43-aa0c-c729584a25e9" providerId="ADAL" clId="{D36C4F76-2A40-446B-AAFE-78B3D529E062}" dt="2022-11-16T01:33:45.416" v="736" actId="14100"/>
          <ac:cxnSpMkLst>
            <pc:docMk/>
            <pc:sldMk cId="4018931925" sldId="2147377033"/>
            <ac:cxnSpMk id="43" creationId="{00000000-0000-0000-0000-000000000000}"/>
          </ac:cxnSpMkLst>
        </pc:cxnChg>
        <pc:cxnChg chg="add mod">
          <ac:chgData name="Kamath, Amitha" userId="c3525f0c-0cc9-4f43-aa0c-c729584a25e9" providerId="ADAL" clId="{D36C4F76-2A40-446B-AAFE-78B3D529E062}" dt="2022-11-16T01:33:40.285" v="735" actId="14100"/>
          <ac:cxnSpMkLst>
            <pc:docMk/>
            <pc:sldMk cId="4018931925" sldId="2147377033"/>
            <ac:cxnSpMk id="44" creationId="{DD43FB70-04EF-477D-A887-D5C3CFA24BC3}"/>
          </ac:cxnSpMkLst>
        </pc:cxnChg>
        <pc:cxnChg chg="mod">
          <ac:chgData name="Kamath, Amitha" userId="c3525f0c-0cc9-4f43-aa0c-c729584a25e9" providerId="ADAL" clId="{D36C4F76-2A40-446B-AAFE-78B3D529E062}" dt="2022-11-16T01:34:19.219" v="763" actId="1076"/>
          <ac:cxnSpMkLst>
            <pc:docMk/>
            <pc:sldMk cId="4018931925" sldId="2147377033"/>
            <ac:cxnSpMk id="62" creationId="{00000000-0000-0000-0000-000000000000}"/>
          </ac:cxnSpMkLst>
        </pc:cxnChg>
      </pc:sldChg>
      <pc:sldChg chg="modSp add mod modAnim">
        <pc:chgData name="Kamath, Amitha" userId="c3525f0c-0cc9-4f43-aa0c-c729584a25e9" providerId="ADAL" clId="{D36C4F76-2A40-446B-AAFE-78B3D529E062}" dt="2022-11-16T02:01:22.445" v="1175"/>
        <pc:sldMkLst>
          <pc:docMk/>
          <pc:sldMk cId="1358552419" sldId="2147377034"/>
        </pc:sldMkLst>
        <pc:spChg chg="mod">
          <ac:chgData name="Kamath, Amitha" userId="c3525f0c-0cc9-4f43-aa0c-c729584a25e9" providerId="ADAL" clId="{D36C4F76-2A40-446B-AAFE-78B3D529E062}" dt="2022-11-16T01:52:06.933" v="962" actId="20577"/>
          <ac:spMkLst>
            <pc:docMk/>
            <pc:sldMk cId="1358552419" sldId="2147377034"/>
            <ac:spMk id="45" creationId="{BCC7DA79-9B5B-4D2A-BE2B-66061BAC999C}"/>
          </ac:spMkLst>
        </pc:spChg>
      </pc:sldChg>
      <pc:sldMasterChg chg="delSldLayout modSldLayout">
        <pc:chgData name="Kamath, Amitha" userId="c3525f0c-0cc9-4f43-aa0c-c729584a25e9" providerId="ADAL" clId="{D36C4F76-2A40-446B-AAFE-78B3D529E062}" dt="2022-11-16T02:00:11.446" v="1148" actId="1076"/>
        <pc:sldMasterMkLst>
          <pc:docMk/>
          <pc:sldMasterMk cId="3408294523" sldId="2147483733"/>
        </pc:sldMasterMkLst>
        <pc:sldLayoutChg chg="modSp mod">
          <pc:chgData name="Kamath, Amitha" userId="c3525f0c-0cc9-4f43-aa0c-c729584a25e9" providerId="ADAL" clId="{D36C4F76-2A40-446B-AAFE-78B3D529E062}" dt="2022-11-16T02:00:11.446" v="1148" actId="1076"/>
          <pc:sldLayoutMkLst>
            <pc:docMk/>
            <pc:sldMasterMk cId="3408294523" sldId="2147483733"/>
            <pc:sldLayoutMk cId="781090314" sldId="2147483740"/>
          </pc:sldLayoutMkLst>
          <pc:spChg chg="mod">
            <ac:chgData name="Kamath, Amitha" userId="c3525f0c-0cc9-4f43-aa0c-c729584a25e9" providerId="ADAL" clId="{D36C4F76-2A40-446B-AAFE-78B3D529E062}" dt="2022-11-16T02:00:11.446" v="1148" actId="1076"/>
            <ac:spMkLst>
              <pc:docMk/>
              <pc:sldMasterMk cId="3408294523" sldId="2147483733"/>
              <pc:sldLayoutMk cId="781090314" sldId="2147483740"/>
              <ac:spMk id="2" creationId="{5B62EF80-ED78-484B-AC34-B314C73F9091}"/>
            </ac:spMkLst>
          </pc:spChg>
        </pc:sldLayoutChg>
        <pc:sldLayoutChg chg="del">
          <pc:chgData name="Kamath, Amitha" userId="c3525f0c-0cc9-4f43-aa0c-c729584a25e9" providerId="ADAL" clId="{D36C4F76-2A40-446B-AAFE-78B3D529E062}" dt="2022-11-16T01:59:11.626" v="1144" actId="47"/>
          <pc:sldLayoutMkLst>
            <pc:docMk/>
            <pc:sldMasterMk cId="3408294523" sldId="2147483733"/>
            <pc:sldLayoutMk cId="2946912006" sldId="2147483840"/>
          </pc:sldLayoutMkLst>
        </pc:sldLayoutChg>
      </pc:sldMasterChg>
      <pc:sldMasterChg chg="modSldLayout">
        <pc:chgData name="Kamath, Amitha" userId="c3525f0c-0cc9-4f43-aa0c-c729584a25e9" providerId="ADAL" clId="{D36C4F76-2A40-446B-AAFE-78B3D529E062}" dt="2022-11-16T01:59:44.887" v="1146" actId="255"/>
        <pc:sldMasterMkLst>
          <pc:docMk/>
          <pc:sldMasterMk cId="4060171791" sldId="2147483817"/>
        </pc:sldMasterMkLst>
        <pc:sldLayoutChg chg="modSp mod">
          <pc:chgData name="Kamath, Amitha" userId="c3525f0c-0cc9-4f43-aa0c-c729584a25e9" providerId="ADAL" clId="{D36C4F76-2A40-446B-AAFE-78B3D529E062}" dt="2022-11-16T01:59:44.887" v="1146" actId="255"/>
          <pc:sldLayoutMkLst>
            <pc:docMk/>
            <pc:sldMasterMk cId="4060171791" sldId="2147483817"/>
            <pc:sldLayoutMk cId="4182875418" sldId="2147483838"/>
          </pc:sldLayoutMkLst>
          <pc:spChg chg="mod">
            <ac:chgData name="Kamath, Amitha" userId="c3525f0c-0cc9-4f43-aa0c-c729584a25e9" providerId="ADAL" clId="{D36C4F76-2A40-446B-AAFE-78B3D529E062}" dt="2022-11-16T01:59:44.887" v="1146" actId="255"/>
            <ac:spMkLst>
              <pc:docMk/>
              <pc:sldMasterMk cId="4060171791" sldId="2147483817"/>
              <pc:sldLayoutMk cId="4182875418" sldId="2147483838"/>
              <ac:spMk id="13" creationId="{2E5C152E-1B2C-2848-9A5B-C013FDF4DF21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050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Simplify automation with visual drag-and-drop tools and industry specific content</a:t>
            </a:r>
          </a:p>
          <a:p>
            <a:pPr marL="176213" indent="-176213" defTabSz="913852" fontAlgn="base"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Empower business user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to build workflows and automate tasks with an intuitive, easy to use and powerful no-code experience</a:t>
            </a:r>
          </a:p>
          <a:p>
            <a:pPr marL="176213" indent="-176213" defTabSz="913852" fontAlgn="base"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Enable business users and developers to collaborate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on projects with the tools that best fit their respective skill sets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Jumpstart projects using the broadest set of pre-built industry content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and use cases for SAP applications</a:t>
            </a:r>
          </a:p>
          <a:p>
            <a:endParaRPr lang="en-US" dirty="0"/>
          </a:p>
          <a:p>
            <a:r>
              <a:rPr lang="en-US" dirty="0"/>
              <a:t>Automate faster with business context in a unified workflow management and robotic process automation solution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Access workflow management and task automation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capabilities in a single tool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Leverage built-in AI-capabilitie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for recommendations, document processing and more.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Instantly use data from SAP application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without losing its business context and meaning</a:t>
            </a:r>
          </a:p>
          <a:p>
            <a:endParaRPr lang="en-US" dirty="0"/>
          </a:p>
          <a:p>
            <a:r>
              <a:rPr lang="en-US" dirty="0"/>
              <a:t>Operate confidently on a trusted, enterprise-grade multi-cloud platform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dirty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ea typeface="Calibri" panose="020F0502020204030204" pitchFamily="34" charset="0"/>
                <a:cs typeface="Calibri" panose="020F0502020204030204" pitchFamily="34" charset="0"/>
              </a:rPr>
              <a:t>Utilize your cloud of choice while interoperating  with your existing IT landscape </a:t>
            </a:r>
            <a:endParaRPr lang="en-US" dirty="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Safeguard operation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with centralized governance, testing and monitoring capabilities.</a:t>
            </a:r>
            <a:endParaRPr lang="en-US" b="1" kern="0" dirty="0">
              <a:solidFill>
                <a:srgbClr val="000000"/>
              </a:solidFill>
              <a:ea typeface="Arial Unicode MS" pitchFamily="34" charset="-128"/>
              <a:cs typeface="72" panose="020B0503030000000003" pitchFamily="34" charset="0"/>
            </a:endParaRP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Ensure compliance and deploy with trust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as the service is designed to meet stringent enterprise-class SLAs, compliance and privacy regulations. </a:t>
            </a: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0080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469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663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210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865861"/>
            <a:ext cx="43912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4800" b="1" kern="0" dirty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&lt;Agenda&gt;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1692001"/>
            <a:ext cx="11545200" cy="3831818"/>
          </a:xfrm>
        </p:spPr>
        <p:txBody>
          <a:bodyPr>
            <a:no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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Agenda Item/Divider 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767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69740" y="1730867"/>
            <a:ext cx="43912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48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21.xml"/><Relationship Id="rId63" Type="http://schemas.openxmlformats.org/officeDocument/2006/relationships/tags" Target="../tags/tag42.xml"/><Relationship Id="rId84" Type="http://schemas.openxmlformats.org/officeDocument/2006/relationships/tags" Target="../tags/tag63.xml"/><Relationship Id="rId138" Type="http://schemas.openxmlformats.org/officeDocument/2006/relationships/tags" Target="../tags/tag117.xml"/><Relationship Id="rId107" Type="http://schemas.openxmlformats.org/officeDocument/2006/relationships/tags" Target="../tags/tag8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1.xml"/><Relationship Id="rId53" Type="http://schemas.openxmlformats.org/officeDocument/2006/relationships/tags" Target="../tags/tag32.xml"/><Relationship Id="rId74" Type="http://schemas.openxmlformats.org/officeDocument/2006/relationships/tags" Target="../tags/tag53.xml"/><Relationship Id="rId128" Type="http://schemas.openxmlformats.org/officeDocument/2006/relationships/tags" Target="../tags/tag107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69.xml"/><Relationship Id="rId95" Type="http://schemas.openxmlformats.org/officeDocument/2006/relationships/tags" Target="../tags/tag7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64" Type="http://schemas.openxmlformats.org/officeDocument/2006/relationships/tags" Target="../tags/tag43.xml"/><Relationship Id="rId69" Type="http://schemas.openxmlformats.org/officeDocument/2006/relationships/tags" Target="../tags/tag48.xml"/><Relationship Id="rId113" Type="http://schemas.openxmlformats.org/officeDocument/2006/relationships/tags" Target="../tags/tag92.xml"/><Relationship Id="rId118" Type="http://schemas.openxmlformats.org/officeDocument/2006/relationships/tags" Target="../tags/tag97.xml"/><Relationship Id="rId134" Type="http://schemas.openxmlformats.org/officeDocument/2006/relationships/tags" Target="../tags/tag113.xml"/><Relationship Id="rId139" Type="http://schemas.openxmlformats.org/officeDocument/2006/relationships/tags" Target="../tags/tag118.xml"/><Relationship Id="rId80" Type="http://schemas.openxmlformats.org/officeDocument/2006/relationships/tags" Target="../tags/tag59.xml"/><Relationship Id="rId85" Type="http://schemas.openxmlformats.org/officeDocument/2006/relationships/tags" Target="../tags/tag6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59" Type="http://schemas.openxmlformats.org/officeDocument/2006/relationships/tags" Target="../tags/tag38.xml"/><Relationship Id="rId103" Type="http://schemas.openxmlformats.org/officeDocument/2006/relationships/tags" Target="../tags/tag82.xml"/><Relationship Id="rId108" Type="http://schemas.openxmlformats.org/officeDocument/2006/relationships/tags" Target="../tags/tag87.xml"/><Relationship Id="rId124" Type="http://schemas.openxmlformats.org/officeDocument/2006/relationships/tags" Target="../tags/tag103.xml"/><Relationship Id="rId129" Type="http://schemas.openxmlformats.org/officeDocument/2006/relationships/tags" Target="../tags/tag108.xml"/><Relationship Id="rId54" Type="http://schemas.openxmlformats.org/officeDocument/2006/relationships/tags" Target="../tags/tag33.xml"/><Relationship Id="rId70" Type="http://schemas.openxmlformats.org/officeDocument/2006/relationships/tags" Target="../tags/tag49.xml"/><Relationship Id="rId75" Type="http://schemas.openxmlformats.org/officeDocument/2006/relationships/tags" Target="../tags/tag54.xml"/><Relationship Id="rId91" Type="http://schemas.openxmlformats.org/officeDocument/2006/relationships/tags" Target="../tags/tag70.xml"/><Relationship Id="rId96" Type="http://schemas.openxmlformats.org/officeDocument/2006/relationships/tags" Target="../tags/tag75.xml"/><Relationship Id="rId140" Type="http://schemas.openxmlformats.org/officeDocument/2006/relationships/tags" Target="../tags/tag119.xml"/><Relationship Id="rId145" Type="http://schemas.openxmlformats.org/officeDocument/2006/relationships/tags" Target="../tags/tag1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49" Type="http://schemas.openxmlformats.org/officeDocument/2006/relationships/tags" Target="../tags/tag28.xml"/><Relationship Id="rId114" Type="http://schemas.openxmlformats.org/officeDocument/2006/relationships/tags" Target="../tags/tag93.xml"/><Relationship Id="rId119" Type="http://schemas.openxmlformats.org/officeDocument/2006/relationships/tags" Target="../tags/tag98.xml"/><Relationship Id="rId44" Type="http://schemas.openxmlformats.org/officeDocument/2006/relationships/tags" Target="../tags/tag23.xml"/><Relationship Id="rId60" Type="http://schemas.openxmlformats.org/officeDocument/2006/relationships/tags" Target="../tags/tag39.xml"/><Relationship Id="rId65" Type="http://schemas.openxmlformats.org/officeDocument/2006/relationships/tags" Target="../tags/tag44.xml"/><Relationship Id="rId81" Type="http://schemas.openxmlformats.org/officeDocument/2006/relationships/tags" Target="../tags/tag60.xml"/><Relationship Id="rId86" Type="http://schemas.openxmlformats.org/officeDocument/2006/relationships/tags" Target="../tags/tag65.xml"/><Relationship Id="rId130" Type="http://schemas.openxmlformats.org/officeDocument/2006/relationships/tags" Target="../tags/tag109.xml"/><Relationship Id="rId135" Type="http://schemas.openxmlformats.org/officeDocument/2006/relationships/tags" Target="../tags/tag114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8.xml"/><Relationship Id="rId109" Type="http://schemas.openxmlformats.org/officeDocument/2006/relationships/tags" Target="../tags/tag88.xml"/><Relationship Id="rId34" Type="http://schemas.openxmlformats.org/officeDocument/2006/relationships/tags" Target="../tags/tag13.xml"/><Relationship Id="rId50" Type="http://schemas.openxmlformats.org/officeDocument/2006/relationships/tags" Target="../tags/tag29.xml"/><Relationship Id="rId55" Type="http://schemas.openxmlformats.org/officeDocument/2006/relationships/tags" Target="../tags/tag34.xml"/><Relationship Id="rId76" Type="http://schemas.openxmlformats.org/officeDocument/2006/relationships/tags" Target="../tags/tag55.xml"/><Relationship Id="rId97" Type="http://schemas.openxmlformats.org/officeDocument/2006/relationships/tags" Target="../tags/tag76.xml"/><Relationship Id="rId104" Type="http://schemas.openxmlformats.org/officeDocument/2006/relationships/tags" Target="../tags/tag83.xml"/><Relationship Id="rId120" Type="http://schemas.openxmlformats.org/officeDocument/2006/relationships/tags" Target="../tags/tag99.xml"/><Relationship Id="rId125" Type="http://schemas.openxmlformats.org/officeDocument/2006/relationships/tags" Target="../tags/tag104.xml"/><Relationship Id="rId141" Type="http://schemas.openxmlformats.org/officeDocument/2006/relationships/tags" Target="../tags/tag120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0.xml"/><Relationship Id="rId92" Type="http://schemas.openxmlformats.org/officeDocument/2006/relationships/tags" Target="../tags/tag71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8.xml"/><Relationship Id="rId24" Type="http://schemas.openxmlformats.org/officeDocument/2006/relationships/tags" Target="../tags/tag3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66" Type="http://schemas.openxmlformats.org/officeDocument/2006/relationships/tags" Target="../tags/tag45.xml"/><Relationship Id="rId87" Type="http://schemas.openxmlformats.org/officeDocument/2006/relationships/tags" Target="../tags/tag66.xml"/><Relationship Id="rId110" Type="http://schemas.openxmlformats.org/officeDocument/2006/relationships/tags" Target="../tags/tag89.xml"/><Relationship Id="rId115" Type="http://schemas.openxmlformats.org/officeDocument/2006/relationships/tags" Target="../tags/tag94.xml"/><Relationship Id="rId131" Type="http://schemas.openxmlformats.org/officeDocument/2006/relationships/tags" Target="../tags/tag110.xml"/><Relationship Id="rId136" Type="http://schemas.openxmlformats.org/officeDocument/2006/relationships/tags" Target="../tags/tag115.xml"/><Relationship Id="rId61" Type="http://schemas.openxmlformats.org/officeDocument/2006/relationships/tags" Target="../tags/tag40.xml"/><Relationship Id="rId82" Type="http://schemas.openxmlformats.org/officeDocument/2006/relationships/tags" Target="../tags/tag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56" Type="http://schemas.openxmlformats.org/officeDocument/2006/relationships/tags" Target="../tags/tag35.xml"/><Relationship Id="rId77" Type="http://schemas.openxmlformats.org/officeDocument/2006/relationships/tags" Target="../tags/tag56.xml"/><Relationship Id="rId100" Type="http://schemas.openxmlformats.org/officeDocument/2006/relationships/tags" Target="../tags/tag79.xml"/><Relationship Id="rId105" Type="http://schemas.openxmlformats.org/officeDocument/2006/relationships/tags" Target="../tags/tag84.xml"/><Relationship Id="rId126" Type="http://schemas.openxmlformats.org/officeDocument/2006/relationships/tags" Target="../tags/tag10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72" Type="http://schemas.openxmlformats.org/officeDocument/2006/relationships/tags" Target="../tags/tag51.xml"/><Relationship Id="rId93" Type="http://schemas.openxmlformats.org/officeDocument/2006/relationships/tags" Target="../tags/tag72.xml"/><Relationship Id="rId98" Type="http://schemas.openxmlformats.org/officeDocument/2006/relationships/tags" Target="../tags/tag77.xml"/><Relationship Id="rId121" Type="http://schemas.openxmlformats.org/officeDocument/2006/relationships/tags" Target="../tags/tag100.xml"/><Relationship Id="rId142" Type="http://schemas.openxmlformats.org/officeDocument/2006/relationships/tags" Target="../tags/tag121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4.xml"/><Relationship Id="rId46" Type="http://schemas.openxmlformats.org/officeDocument/2006/relationships/tags" Target="../tags/tag25.xml"/><Relationship Id="rId67" Type="http://schemas.openxmlformats.org/officeDocument/2006/relationships/tags" Target="../tags/tag46.xml"/><Relationship Id="rId116" Type="http://schemas.openxmlformats.org/officeDocument/2006/relationships/tags" Target="../tags/tag95.xml"/><Relationship Id="rId137" Type="http://schemas.openxmlformats.org/officeDocument/2006/relationships/tags" Target="../tags/tag116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0.xml"/><Relationship Id="rId62" Type="http://schemas.openxmlformats.org/officeDocument/2006/relationships/tags" Target="../tags/tag41.xml"/><Relationship Id="rId83" Type="http://schemas.openxmlformats.org/officeDocument/2006/relationships/tags" Target="../tags/tag62.xml"/><Relationship Id="rId88" Type="http://schemas.openxmlformats.org/officeDocument/2006/relationships/tags" Target="../tags/tag67.xml"/><Relationship Id="rId111" Type="http://schemas.openxmlformats.org/officeDocument/2006/relationships/tags" Target="../tags/tag90.xml"/><Relationship Id="rId132" Type="http://schemas.openxmlformats.org/officeDocument/2006/relationships/tags" Target="../tags/tag111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5.xml"/><Relationship Id="rId57" Type="http://schemas.openxmlformats.org/officeDocument/2006/relationships/tags" Target="../tags/tag36.xml"/><Relationship Id="rId106" Type="http://schemas.openxmlformats.org/officeDocument/2006/relationships/tags" Target="../tags/tag85.xml"/><Relationship Id="rId127" Type="http://schemas.openxmlformats.org/officeDocument/2006/relationships/tags" Target="../tags/tag106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0.xml"/><Relationship Id="rId52" Type="http://schemas.openxmlformats.org/officeDocument/2006/relationships/tags" Target="../tags/tag31.xml"/><Relationship Id="rId73" Type="http://schemas.openxmlformats.org/officeDocument/2006/relationships/tags" Target="../tags/tag52.xml"/><Relationship Id="rId78" Type="http://schemas.openxmlformats.org/officeDocument/2006/relationships/tags" Target="../tags/tag57.xml"/><Relationship Id="rId94" Type="http://schemas.openxmlformats.org/officeDocument/2006/relationships/tags" Target="../tags/tag73.xml"/><Relationship Id="rId99" Type="http://schemas.openxmlformats.org/officeDocument/2006/relationships/tags" Target="../tags/tag78.xml"/><Relationship Id="rId101" Type="http://schemas.openxmlformats.org/officeDocument/2006/relationships/tags" Target="../tags/tag80.xml"/><Relationship Id="rId122" Type="http://schemas.openxmlformats.org/officeDocument/2006/relationships/tags" Target="../tags/tag101.xml"/><Relationship Id="rId143" Type="http://schemas.openxmlformats.org/officeDocument/2006/relationships/tags" Target="../tags/tag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5.xml"/><Relationship Id="rId47" Type="http://schemas.openxmlformats.org/officeDocument/2006/relationships/tags" Target="../tags/tag26.xml"/><Relationship Id="rId68" Type="http://schemas.openxmlformats.org/officeDocument/2006/relationships/tags" Target="../tags/tag47.xml"/><Relationship Id="rId89" Type="http://schemas.openxmlformats.org/officeDocument/2006/relationships/tags" Target="../tags/tag68.xml"/><Relationship Id="rId112" Type="http://schemas.openxmlformats.org/officeDocument/2006/relationships/tags" Target="../tags/tag91.xml"/><Relationship Id="rId133" Type="http://schemas.openxmlformats.org/officeDocument/2006/relationships/tags" Target="../tags/tag112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6.xml"/><Relationship Id="rId58" Type="http://schemas.openxmlformats.org/officeDocument/2006/relationships/tags" Target="../tags/tag37.xml"/><Relationship Id="rId79" Type="http://schemas.openxmlformats.org/officeDocument/2006/relationships/tags" Target="../tags/tag58.xml"/><Relationship Id="rId102" Type="http://schemas.openxmlformats.org/officeDocument/2006/relationships/tags" Target="../tags/tag81.xml"/><Relationship Id="rId123" Type="http://schemas.openxmlformats.org/officeDocument/2006/relationships/tags" Target="../tags/tag102.xml"/><Relationship Id="rId144" Type="http://schemas.openxmlformats.org/officeDocument/2006/relationships/tags" Target="../tags/tag123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2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6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8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3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35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9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4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1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6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1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3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4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  <p:sldLayoutId id="2147483839" r:id="rId2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8.xml"/><Relationship Id="rId1" Type="http://schemas.openxmlformats.org/officeDocument/2006/relationships/customXml" Target="../../customXml/item16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t262-9vbrkgdy-applicationdevelopment.lcnc.cfapps.us10.hana.ondemand.com/lobb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4.png"/><Relationship Id="rId5" Type="http://schemas.openxmlformats.org/officeDocument/2006/relationships/hyperlink" Target="https://discovery-center.cloud.sap/missiondetail/4018/4222/" TargetMode="External"/><Relationship Id="rId4" Type="http://schemas.openxmlformats.org/officeDocument/2006/relationships/hyperlink" Target="https://my401669-api.s4hana.cloud.sap/sap/opu/odata/sap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19.xml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svg"/><Relationship Id="rId7" Type="http://schemas.openxmlformats.org/officeDocument/2006/relationships/image" Target="../media/image51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86001EZbl&amp;comm_hub_field_id_=F1DA732D6686D23BF5BBD64CFEBF5833" TargetMode="External"/><Relationship Id="rId3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647001Ee5O&amp;comm_hub_field_id_=F1DA732D6686D23BF5BBD64CFEBF5833" TargetMode="External"/><Relationship Id="rId7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374001X6GH&amp;comm_hub_field_id_=F1DA732D6686D23BF5BBD64CFEBF5833" TargetMode="External"/><Relationship Id="rId2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877001ERS0&amp;comm_hub_field_id_=F1DA732D6686D23BF5BBD64CFEBF5833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50001EHbd&amp;comm_hub_field_id_=F1DA732D6686D23BF5BBD64CFEBF5833" TargetMode="External"/><Relationship Id="rId11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443001EIc7&amp;comm_hub_field_id_=F1DA732D6686D23BF5BBD64CFEBF5833" TargetMode="External"/><Relationship Id="rId5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15001EwnT&amp;comm_hub_field_id_=F1DA732D6686D23BF5BBD64CFEBF5833" TargetMode="External"/><Relationship Id="rId10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678001X25s&amp;comm_hub_field_id_=F1DA732D6686D23BF5BBD64CFEBF5833" TargetMode="External"/><Relationship Id="rId4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414001XuHl&amp;comm_hub_field_id_=F1DA732D6686D23BF5BBD64CFEBF5833" TargetMode="External"/><Relationship Id="rId9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41428001ExKO&amp;comm_hub_field_id_=F1DA732D6686D23BF5BBD64CFEBF5833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itcertcouncil.org/mp-files/itcc-value-of-it-certification-2021.pdf/" TargetMode="External"/><Relationship Id="rId13" Type="http://schemas.openxmlformats.org/officeDocument/2006/relationships/image" Target="../media/image58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home.pearsonvue.com/About/News/2021/Value-of-IT-Certification-study-highlights-benefit.aspx" TargetMode="External"/><Relationship Id="rId12" Type="http://schemas.openxmlformats.org/officeDocument/2006/relationships/image" Target="../media/image57.png"/><Relationship Id="rId2" Type="http://schemas.openxmlformats.org/officeDocument/2006/relationships/tags" Target="../tags/tag371.xml"/><Relationship Id="rId16" Type="http://schemas.openxmlformats.org/officeDocument/2006/relationships/hyperlink" Target="https://groups.community.sap.com/t5/sap-learning-groups/ct-p/SAP-Learning" TargetMode="Externa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4.emf"/><Relationship Id="rId11" Type="http://schemas.openxmlformats.org/officeDocument/2006/relationships/image" Target="../media/image56.png"/><Relationship Id="rId5" Type="http://schemas.openxmlformats.org/officeDocument/2006/relationships/oleObject" Target="../embeddings/oleObject1.bin"/><Relationship Id="rId15" Type="http://schemas.openxmlformats.org/officeDocument/2006/relationships/hyperlink" Target="https://groups.community.sap.com/t5/sap-teched/gh-p/SAP-TechEd-Group" TargetMode="External"/><Relationship Id="rId10" Type="http://schemas.openxmlformats.org/officeDocument/2006/relationships/hyperlink" Target="https://learning.sap.com/teched" TargetMode="External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5.png"/><Relationship Id="rId14" Type="http://schemas.openxmlformats.org/officeDocument/2006/relationships/image" Target="../media/image5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13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3.png"/><Relationship Id="rId2" Type="http://schemas.openxmlformats.org/officeDocument/2006/relationships/customXml" Target="../../customXml/item21.xml"/><Relationship Id="rId1" Type="http://schemas.openxmlformats.org/officeDocument/2006/relationships/customXml" Target="../../customXml/item2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3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d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 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9033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sp>
        <p:nvSpPr>
          <p:cNvPr id="13" name="Rectangle: Rounded Corners 12"/>
          <p:cNvSpPr/>
          <p:nvPr/>
        </p:nvSpPr>
        <p:spPr bwMode="gray">
          <a:xfrm>
            <a:off x="3295122" y="3262068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70023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  <a:endCxn id="46" idx="1"/>
          </p:cNvCxnSpPr>
          <p:nvPr/>
        </p:nvCxnSpPr>
        <p:spPr>
          <a:xfrm flipV="1">
            <a:off x="5704737" y="3830743"/>
            <a:ext cx="60875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6313487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62296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8669651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9414044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414044" y="3259747"/>
            <a:ext cx="213580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 from For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232405" y="2894392"/>
            <a:ext cx="57120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Build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177221" y="2666035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8736675" y="1054183"/>
            <a:ext cx="3450877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5AD54-3A0E-46ED-8352-E98854B246C6}"/>
              </a:ext>
            </a:extLst>
          </p:cNvPr>
          <p:cNvSpPr txBox="1"/>
          <p:nvPr/>
        </p:nvSpPr>
        <p:spPr>
          <a:xfrm>
            <a:off x="3787383" y="4537300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BD32C1-721C-47DF-B4D1-6D0A79B08EA3}"/>
              </a:ext>
            </a:extLst>
          </p:cNvPr>
          <p:cNvSpPr txBox="1"/>
          <p:nvPr/>
        </p:nvSpPr>
        <p:spPr>
          <a:xfrm>
            <a:off x="6836403" y="4539826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914B4E-247C-4D6C-B4BA-9176D52754F5}"/>
              </a:ext>
            </a:extLst>
          </p:cNvPr>
          <p:cNvSpPr txBox="1"/>
          <p:nvPr/>
        </p:nvSpPr>
        <p:spPr>
          <a:xfrm>
            <a:off x="9414044" y="4469207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eploy and Execut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59305F-DA17-40AB-AB73-CB690B353F9D}"/>
              </a:ext>
            </a:extLst>
          </p:cNvPr>
          <p:cNvSpPr/>
          <p:nvPr/>
        </p:nvSpPr>
        <p:spPr bwMode="gray">
          <a:xfrm>
            <a:off x="291614" y="3243743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gister and configure agent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D43FB70-04EF-477D-A887-D5C3CFA24BC3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696112" y="3840497"/>
            <a:ext cx="599010" cy="857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CC7DA79-9B5B-4D2A-BE2B-66061BAC999C}"/>
              </a:ext>
            </a:extLst>
          </p:cNvPr>
          <p:cNvSpPr txBox="1"/>
          <p:nvPr/>
        </p:nvSpPr>
        <p:spPr>
          <a:xfrm>
            <a:off x="804359" y="4548952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Set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1808A-0FA4-4202-A79B-DDC43F3AC715}"/>
              </a:ext>
            </a:extLst>
          </p:cNvPr>
          <p:cNvSpPr txBox="1"/>
          <p:nvPr/>
        </p:nvSpPr>
        <p:spPr>
          <a:xfrm>
            <a:off x="5362113" y="5211192"/>
            <a:ext cx="5184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Condition - Purchase Requisition Value &gt;=100</a:t>
            </a:r>
          </a:p>
        </p:txBody>
      </p:sp>
    </p:spTree>
    <p:extLst>
      <p:ext uri="{BB962C8B-B14F-4D97-AF65-F5344CB8AC3E}">
        <p14:creationId xmlns:p14="http://schemas.microsoft.com/office/powerpoint/2010/main" val="4018931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sp>
        <p:nvSpPr>
          <p:cNvPr id="13" name="Rectangle: Rounded Corners 12"/>
          <p:cNvSpPr/>
          <p:nvPr/>
        </p:nvSpPr>
        <p:spPr bwMode="gray">
          <a:xfrm>
            <a:off x="3295122" y="3262068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70023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  <a:endCxn id="46" idx="1"/>
          </p:cNvCxnSpPr>
          <p:nvPr/>
        </p:nvCxnSpPr>
        <p:spPr>
          <a:xfrm flipV="1">
            <a:off x="5704737" y="3830743"/>
            <a:ext cx="60875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6313487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62296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8669651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9414044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414044" y="3259747"/>
            <a:ext cx="213580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 from For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232405" y="2892675"/>
            <a:ext cx="57120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Build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177221" y="2666035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8736675" y="1054183"/>
            <a:ext cx="3450877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5AD54-3A0E-46ED-8352-E98854B246C6}"/>
              </a:ext>
            </a:extLst>
          </p:cNvPr>
          <p:cNvSpPr txBox="1"/>
          <p:nvPr/>
        </p:nvSpPr>
        <p:spPr>
          <a:xfrm>
            <a:off x="3787383" y="4537300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BD32C1-721C-47DF-B4D1-6D0A79B08EA3}"/>
              </a:ext>
            </a:extLst>
          </p:cNvPr>
          <p:cNvSpPr txBox="1"/>
          <p:nvPr/>
        </p:nvSpPr>
        <p:spPr>
          <a:xfrm>
            <a:off x="6836403" y="4539826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914B4E-247C-4D6C-B4BA-9176D52754F5}"/>
              </a:ext>
            </a:extLst>
          </p:cNvPr>
          <p:cNvSpPr txBox="1"/>
          <p:nvPr/>
        </p:nvSpPr>
        <p:spPr>
          <a:xfrm>
            <a:off x="9414044" y="4469207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eploy and Execut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59305F-DA17-40AB-AB73-CB690B353F9D}"/>
              </a:ext>
            </a:extLst>
          </p:cNvPr>
          <p:cNvSpPr/>
          <p:nvPr/>
        </p:nvSpPr>
        <p:spPr bwMode="gray">
          <a:xfrm>
            <a:off x="291614" y="3243743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gister and configure agent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D43FB70-04EF-477D-A887-D5C3CFA24BC3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696112" y="3840497"/>
            <a:ext cx="599010" cy="857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CC7DA79-9B5B-4D2A-BE2B-66061BAC999C}"/>
              </a:ext>
            </a:extLst>
          </p:cNvPr>
          <p:cNvSpPr txBox="1"/>
          <p:nvPr/>
        </p:nvSpPr>
        <p:spPr>
          <a:xfrm>
            <a:off x="997691" y="4528881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Set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1808A-0FA4-4202-A79B-DDC43F3AC715}"/>
              </a:ext>
            </a:extLst>
          </p:cNvPr>
          <p:cNvSpPr txBox="1"/>
          <p:nvPr/>
        </p:nvSpPr>
        <p:spPr>
          <a:xfrm>
            <a:off x="5362113" y="5211192"/>
            <a:ext cx="5184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Condition - Purchase Requisition Value &gt;=10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36A27A-0EC0-4603-8185-CD4C7535A9A7}"/>
              </a:ext>
            </a:extLst>
          </p:cNvPr>
          <p:cNvSpPr/>
          <p:nvPr/>
        </p:nvSpPr>
        <p:spPr bwMode="gray">
          <a:xfrm>
            <a:off x="142043" y="2867487"/>
            <a:ext cx="2721808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440C2C3-2427-47FC-9CAA-580D68B77C7B}"/>
              </a:ext>
            </a:extLst>
          </p:cNvPr>
          <p:cNvSpPr/>
          <p:nvPr/>
        </p:nvSpPr>
        <p:spPr bwMode="gray">
          <a:xfrm>
            <a:off x="3232405" y="2867487"/>
            <a:ext cx="5635604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C892664-61C2-4D8B-AA02-DF014DAFD241}"/>
              </a:ext>
            </a:extLst>
          </p:cNvPr>
          <p:cNvSpPr/>
          <p:nvPr/>
        </p:nvSpPr>
        <p:spPr bwMode="gray">
          <a:xfrm>
            <a:off x="9236563" y="2841398"/>
            <a:ext cx="2721808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3921DB-9072-466D-9F59-EB18B9ABF21B}"/>
              </a:ext>
            </a:extLst>
          </p:cNvPr>
          <p:cNvSpPr txBox="1"/>
          <p:nvPr/>
        </p:nvSpPr>
        <p:spPr>
          <a:xfrm>
            <a:off x="1589103" y="2490839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1491584-6227-43D2-A671-751E4AA45819}"/>
              </a:ext>
            </a:extLst>
          </p:cNvPr>
          <p:cNvSpPr txBox="1"/>
          <p:nvPr/>
        </p:nvSpPr>
        <p:spPr>
          <a:xfrm>
            <a:off x="7252267" y="2522163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F3FFD5-5094-40B9-B44C-F52A6937C181}"/>
              </a:ext>
            </a:extLst>
          </p:cNvPr>
          <p:cNvSpPr txBox="1"/>
          <p:nvPr/>
        </p:nvSpPr>
        <p:spPr>
          <a:xfrm>
            <a:off x="10849334" y="2501141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2</a:t>
            </a:r>
          </a:p>
        </p:txBody>
      </p:sp>
    </p:spTree>
    <p:extLst>
      <p:ext uri="{BB962C8B-B14F-4D97-AF65-F5344CB8AC3E}">
        <p14:creationId xmlns:p14="http://schemas.microsoft.com/office/powerpoint/2010/main" val="1358552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2980" y="504000"/>
            <a:ext cx="11186476" cy="369332"/>
          </a:xfrm>
        </p:spPr>
        <p:txBody>
          <a:bodyPr/>
          <a:lstStyle/>
          <a:p>
            <a:r>
              <a:rPr lang="en-US" dirty="0"/>
              <a:t>Hands-on Exercises Logon Credentia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26323" y="1185418"/>
            <a:ext cx="11542528" cy="5095535"/>
          </a:xfrm>
        </p:spPr>
        <p:txBody>
          <a:bodyPr/>
          <a:lstStyle/>
          <a:p>
            <a:pPr marL="342831" indent="-342831">
              <a:buFont typeface="Arial" panose="020B0604020202020204" pitchFamily="34" charset="0"/>
              <a:buChar char="•"/>
            </a:pPr>
            <a:r>
              <a:rPr lang="en-US" sz="1600" b="1" dirty="0"/>
              <a:t>Exercise 0: SAP Build Process Automation</a:t>
            </a:r>
          </a:p>
          <a:p>
            <a:pPr marL="179964"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Google Chrome: Group Number as on the Post-it</a:t>
            </a:r>
            <a:endParaRPr lang="en-US" sz="1600" b="1" u="sng" dirty="0"/>
          </a:p>
          <a:p>
            <a:pPr marL="179964"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URL:</a:t>
            </a:r>
            <a:r>
              <a:rPr lang="en-US" sz="1600" b="0" i="0" u="none" strike="noStrike" dirty="0">
                <a:solidFill>
                  <a:srgbClr val="24292F"/>
                </a:solidFill>
                <a:effectLst/>
                <a:hlinkClick r:id="rId3"/>
              </a:rPr>
              <a:t>https://dt262-9vbrkgdy-applicationdevelopment.lcnc.cfapps.us10.hana.ondemand.com/lobby</a:t>
            </a:r>
            <a:endParaRPr lang="en-US" sz="1600" b="0" i="0" dirty="0">
              <a:solidFill>
                <a:srgbClr val="24292F"/>
              </a:solidFill>
              <a:effectLst/>
            </a:endParaRPr>
          </a:p>
          <a:p>
            <a:pPr marL="465714" lvl="2" indent="-285750">
              <a:buFont typeface="Wingdings" panose="05000000000000000000" pitchFamily="2" charset="2"/>
              <a:buChar char="à"/>
            </a:pPr>
            <a:r>
              <a:rPr lang="en-US" sz="1600" dirty="0">
                <a:sym typeface="Wingdings" panose="05000000000000000000" pitchFamily="2" charset="2"/>
              </a:rPr>
              <a:t>Login with user </a:t>
            </a:r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DT262_0XX</a:t>
            </a:r>
            <a:r>
              <a:rPr lang="en-US" sz="1600" dirty="0">
                <a:sym typeface="Wingdings" panose="05000000000000000000" pitchFamily="2" charset="2"/>
              </a:rPr>
              <a:t> Password: </a:t>
            </a:r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TechEd22$</a:t>
            </a:r>
          </a:p>
          <a:p>
            <a:pPr marL="179964" lvl="2" indent="0">
              <a:buNone/>
            </a:pPr>
            <a:endParaRPr lang="en-US" sz="16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b="1" dirty="0"/>
              <a:t>Exercise 2: Release, Deploy and Execute the Business Scenario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SYSTEMURL_ODATA:- </a:t>
            </a:r>
            <a:r>
              <a:rPr lang="en-US" sz="1600" i="0" u="none" strike="noStrike" dirty="0">
                <a:solidFill>
                  <a:srgbClr val="24292F"/>
                </a:solidFill>
                <a:effectLst/>
                <a:hlinkClick r:id="rId4"/>
              </a:rPr>
              <a:t>https://my401669-api.s4hana.cloud.sap/sap/opu/odata/sap</a:t>
            </a:r>
            <a:endParaRPr lang="en-US" sz="1600" u="none" strike="noStrike" dirty="0">
              <a:solidFill>
                <a:srgbClr val="24292F"/>
              </a:solidFill>
            </a:endParaRP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S4H_USER_AUTH_48M:</a:t>
            </a:r>
          </a:p>
          <a:p>
            <a:pPr lvl="3" indent="0">
              <a:buClrTx/>
              <a:buNone/>
            </a:pPr>
            <a:r>
              <a:rPr lang="en-US" dirty="0"/>
              <a:t>login - </a:t>
            </a:r>
            <a:r>
              <a:rPr lang="en-US" b="1" dirty="0">
                <a:solidFill>
                  <a:srgbClr val="FF0000"/>
                </a:solidFill>
              </a:rPr>
              <a:t>DT262_USER</a:t>
            </a:r>
          </a:p>
          <a:p>
            <a:pPr lvl="3" indent="0">
              <a:buClrTx/>
              <a:buNone/>
            </a:pPr>
            <a:r>
              <a:rPr lang="en-US" dirty="0"/>
              <a:t>password - </a:t>
            </a:r>
            <a:r>
              <a:rPr lang="en-US" b="1" dirty="0">
                <a:solidFill>
                  <a:srgbClr val="FF0000"/>
                </a:solidFill>
              </a:rPr>
              <a:t>WelcomeDT262TechEd_22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EMAIL_RECIPIENTS_48M: Email recipient. Put some fake address, as we have disabled the email function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endParaRPr lang="en-US" sz="1600" dirty="0"/>
          </a:p>
          <a:p>
            <a:pPr lvl="1" indent="0">
              <a:buClrTx/>
              <a:buNone/>
            </a:pPr>
            <a:r>
              <a:rPr lang="en-US" sz="1600" dirty="0"/>
              <a:t>Session also available in SAP Discovery Center:</a:t>
            </a:r>
          </a:p>
          <a:p>
            <a:pPr lvl="1" indent="0">
              <a:buClrTx/>
              <a:buNone/>
            </a:pPr>
            <a:r>
              <a:rPr lang="en-US" sz="1600" dirty="0">
                <a:hlinkClick r:id="rId5"/>
              </a:rPr>
              <a:t>https://discovery-center.cloud.sap/missiondetail/4018/4222/</a:t>
            </a:r>
            <a:endParaRPr lang="en-US" sz="1600" dirty="0"/>
          </a:p>
          <a:p>
            <a:pPr lvl="1" indent="0">
              <a:buClrTx/>
              <a:buNone/>
            </a:pPr>
            <a:endParaRPr lang="en-US" dirty="0"/>
          </a:p>
          <a:p>
            <a:r>
              <a:rPr lang="en-US" b="1" dirty="0">
                <a:sym typeface="Wingdings" panose="05000000000000000000" pitchFamily="2" charset="2"/>
              </a:rPr>
              <a:t> HAVE FUN! :-)</a:t>
            </a:r>
            <a:endParaRPr lang="en-US" b="1" dirty="0"/>
          </a:p>
          <a:p>
            <a:r>
              <a:rPr lang="en-US" dirty="0">
                <a:sym typeface="Wingdings" panose="05000000000000000000" pitchFamily="2" charset="2"/>
              </a:rPr>
              <a:t>     </a:t>
            </a:r>
            <a:endParaRPr lang="en-US" b="1" dirty="0"/>
          </a:p>
          <a:p>
            <a:endParaRPr lang="en-US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en-US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86FE3F-5558-48D6-B8A9-228B2CB57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3778" y="3329000"/>
            <a:ext cx="847619" cy="2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796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72578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huck.chen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502638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huck Ch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A43D26-02DA-4293-A438-DD6767786A4E}"/>
              </a:ext>
            </a:extLst>
          </p:cNvPr>
          <p:cNvSpPr txBox="1"/>
          <p:nvPr/>
        </p:nvSpPr>
        <p:spPr>
          <a:xfrm>
            <a:off x="4098694" y="3461940"/>
            <a:ext cx="211567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Amitha Kamath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amitha.kamath@sap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101E28-8B9F-4E05-869C-4CBE223A4644}"/>
              </a:ext>
            </a:extLst>
          </p:cNvPr>
          <p:cNvSpPr txBox="1"/>
          <p:nvPr/>
        </p:nvSpPr>
        <p:spPr>
          <a:xfrm>
            <a:off x="503238" y="4382778"/>
            <a:ext cx="211567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thias Rup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thias.rup@sap.com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F5116E6-860B-44C5-AC6D-B8F98494A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7559" y="1549514"/>
            <a:ext cx="4352544" cy="43525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047475B-04DD-42EB-B85D-A7D516E03727}"/>
              </a:ext>
            </a:extLst>
          </p:cNvPr>
          <p:cNvSpPr txBox="1"/>
          <p:nvPr/>
        </p:nvSpPr>
        <p:spPr>
          <a:xfrm>
            <a:off x="503238" y="847989"/>
            <a:ext cx="109158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Please take a moment to tell us what you thought of this session – scan the QR Code to complete the session survey, and have your voice hear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AA9E75-6978-4B80-AAAE-EE101C480F09}"/>
              </a:ext>
            </a:extLst>
          </p:cNvPr>
          <p:cNvSpPr txBox="1"/>
          <p:nvPr/>
        </p:nvSpPr>
        <p:spPr>
          <a:xfrm>
            <a:off x="2952325" y="421870"/>
            <a:ext cx="60989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Session Survey- Tell us how we did!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D5E51AD-282E-4D53-AB09-7312169F164D}"/>
              </a:ext>
            </a:extLst>
          </p:cNvPr>
          <p:cNvSpPr/>
          <p:nvPr/>
        </p:nvSpPr>
        <p:spPr bwMode="gray">
          <a:xfrm>
            <a:off x="6246449" y="2055043"/>
            <a:ext cx="2899139" cy="3949832"/>
          </a:xfrm>
          <a:prstGeom prst="roundRect">
            <a:avLst/>
          </a:prstGeom>
          <a:solidFill>
            <a:schemeClr val="tx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" name="Group 10">
            <a:extLst>
              <a:ext uri="{FF2B5EF4-FFF2-40B4-BE49-F238E27FC236}">
                <a16:creationId xmlns:a16="http://schemas.microsoft.com/office/drawing/2014/main" id="{12F62A4D-4DFC-B15D-D0B0-32434839A219}"/>
              </a:ext>
            </a:extLst>
          </p:cNvPr>
          <p:cNvGrpSpPr/>
          <p:nvPr/>
        </p:nvGrpSpPr>
        <p:grpSpPr>
          <a:xfrm>
            <a:off x="698571" y="692554"/>
            <a:ext cx="9089218" cy="3909352"/>
            <a:chOff x="696985" y="692554"/>
            <a:chExt cx="6140174" cy="2924439"/>
          </a:xfrm>
        </p:grpSpPr>
        <p:sp>
          <p:nvSpPr>
            <p:cNvPr id="4" name="TextBox 12">
              <a:extLst>
                <a:ext uri="{FF2B5EF4-FFF2-40B4-BE49-F238E27FC236}">
                  <a16:creationId xmlns:a16="http://schemas.microsoft.com/office/drawing/2014/main" id="{84B7BD90-7EFD-8815-707F-CFA385DE7A27}"/>
                </a:ext>
              </a:extLst>
            </p:cNvPr>
            <p:cNvSpPr txBox="1"/>
            <p:nvPr/>
          </p:nvSpPr>
          <p:spPr>
            <a:xfrm>
              <a:off x="696986" y="692554"/>
              <a:ext cx="6140173" cy="4604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</a:pPr>
              <a:r>
                <a:rPr lang="en-US" sz="4000" b="1" kern="0">
                  <a:latin typeface="Arial"/>
                  <a:ea typeface="Arial Unicode MS"/>
                  <a:cs typeface="Arial"/>
                </a:rPr>
                <a:t>Collect a piece of SAP’s heritage!</a:t>
              </a:r>
              <a:endParaRPr lang="de-DE" sz="4000" b="1">
                <a:cs typeface="Arial"/>
              </a:endParaRPr>
            </a:p>
          </p:txBody>
        </p:sp>
        <p:sp>
          <p:nvSpPr>
            <p:cNvPr id="5" name="TextBox 14">
              <a:extLst>
                <a:ext uri="{FF2B5EF4-FFF2-40B4-BE49-F238E27FC236}">
                  <a16:creationId xmlns:a16="http://schemas.microsoft.com/office/drawing/2014/main" id="{29DAEC27-9A30-3B4E-A0D0-61DE11E771D4}"/>
                </a:ext>
              </a:extLst>
            </p:cNvPr>
            <p:cNvSpPr txBox="1"/>
            <p:nvPr/>
          </p:nvSpPr>
          <p:spPr>
            <a:xfrm>
              <a:off x="696985" y="1775104"/>
              <a:ext cx="3146310" cy="184188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</a:pPr>
              <a:r>
                <a:rPr lang="en-US" sz="2000">
                  <a:ea typeface="+mn-lt"/>
                  <a:cs typeface="+mn-lt"/>
                </a:rPr>
                <a:t>To celebrate 50 years of SAP,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SAP TechEd participants can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collect unique NFTs that reimagine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some of SAP’s most iconic moments.</a:t>
              </a:r>
            </a:p>
            <a:p>
              <a:pPr>
                <a:spcAft>
                  <a:spcPct val="0"/>
                </a:spcAft>
              </a:pPr>
              <a:endParaRPr lang="en-US" sz="2000">
                <a:ea typeface="+mn-lt"/>
                <a:cs typeface="+mn-lt"/>
              </a:endParaRPr>
            </a:p>
            <a:p>
              <a:pPr>
                <a:spcAft>
                  <a:spcPct val="0"/>
                </a:spcAft>
              </a:pPr>
              <a:r>
                <a:rPr lang="en-US" sz="2000" b="1">
                  <a:ea typeface="+mn-lt"/>
                  <a:cs typeface="+mn-lt"/>
                </a:rPr>
                <a:t>Claim your NFT by scanning</a:t>
              </a:r>
              <a:br>
                <a:rPr lang="en-US" sz="2000" b="1">
                  <a:ea typeface="+mn-lt"/>
                  <a:cs typeface="+mn-lt"/>
                </a:rPr>
              </a:br>
              <a:r>
                <a:rPr lang="en-US" sz="2000" b="1">
                  <a:ea typeface="+mn-lt"/>
                  <a:cs typeface="+mn-lt"/>
                </a:rPr>
                <a:t>the QR code or using the</a:t>
              </a:r>
              <a:br>
                <a:rPr lang="en-US" sz="2000" b="1">
                  <a:ea typeface="+mn-lt"/>
                  <a:cs typeface="+mn-lt"/>
                </a:rPr>
              </a:br>
              <a:r>
                <a:rPr lang="en-US" sz="2000" b="1">
                  <a:ea typeface="+mn-lt"/>
                  <a:cs typeface="+mn-lt"/>
                </a:rPr>
                <a:t>4-digit code.</a:t>
              </a:r>
              <a:endParaRPr lang="en-US">
                <a:cs typeface="Arial"/>
              </a:endParaRPr>
            </a:p>
          </p:txBody>
        </p:sp>
      </p:grp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7DB8EC80-1E13-2F7A-9F92-4A5BA4A33140}"/>
              </a:ext>
            </a:extLst>
          </p:cNvPr>
          <p:cNvSpPr/>
          <p:nvPr/>
        </p:nvSpPr>
        <p:spPr bwMode="gray">
          <a:xfrm>
            <a:off x="9289597" y="1741814"/>
            <a:ext cx="1524534" cy="824006"/>
          </a:xfrm>
          <a:prstGeom prst="wedgeRoundRectCallout">
            <a:avLst>
              <a:gd name="adj1" fmla="val -63586"/>
              <a:gd name="adj2" fmla="val 95050"/>
              <a:gd name="adj3" fmla="val 16667"/>
            </a:avLst>
          </a:prstGeom>
          <a:solidFill>
            <a:schemeClr val="accent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2000" b="1" kern="0">
                <a:ea typeface="Arial Unicode MS" pitchFamily="34" charset="-128"/>
                <a:cs typeface="Arial Unicode MS" pitchFamily="34" charset="-128"/>
              </a:rPr>
              <a:t>SCAN ME!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BB3076-AB55-2552-E349-3923B871D4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8627" y="5465159"/>
            <a:ext cx="1048168" cy="115044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898F458-FC43-4ED9-A0D2-C350E8A9EE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6427" y="2906030"/>
            <a:ext cx="2159181" cy="215918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91A94F6-FD75-4EA5-BCD6-F432A7075C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13257" y="2261852"/>
            <a:ext cx="589051" cy="46854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43DE885-E3DC-4DD9-AF79-75D480EE1B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97027" y="2429204"/>
            <a:ext cx="1378581" cy="273232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8282D23-D463-4132-AF18-C0D0281C65BF}"/>
              </a:ext>
            </a:extLst>
          </p:cNvPr>
          <p:cNvSpPr/>
          <p:nvPr/>
        </p:nvSpPr>
        <p:spPr bwMode="gray">
          <a:xfrm>
            <a:off x="6613257" y="5599694"/>
            <a:ext cx="2159181" cy="26865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https://50years.nft.net.sap</a:t>
            </a:r>
            <a:endParaRPr lang="en-DE" sz="1200" kern="0" err="1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45C723A-25BE-40ED-879B-568DA8A88472}"/>
              </a:ext>
            </a:extLst>
          </p:cNvPr>
          <p:cNvSpPr/>
          <p:nvPr/>
        </p:nvSpPr>
        <p:spPr bwMode="gray">
          <a:xfrm>
            <a:off x="6616427" y="5157440"/>
            <a:ext cx="2159181" cy="43752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>
              <a:spcBef>
                <a:spcPct val="50000"/>
              </a:spcBef>
              <a:spcAft>
                <a:spcPct val="0"/>
              </a:spcAft>
            </a:pPr>
            <a:r>
              <a:rPr lang="en-US" sz="3200" b="1" kern="0" dirty="0">
                <a:solidFill>
                  <a:schemeClr val="bg1"/>
                </a:solidFill>
                <a:latin typeface="Courier New"/>
                <a:ea typeface="Arial Unicode MS"/>
                <a:cs typeface="Courier New"/>
              </a:rPr>
              <a:t>C A Q 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1439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B09F7-03AC-45F1-8DF7-3FD3748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chEd ses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47F7E-7168-4BB9-B2ED-DDEFD07C11B6}"/>
              </a:ext>
            </a:extLst>
          </p:cNvPr>
          <p:cNvSpPr txBox="1"/>
          <p:nvPr/>
        </p:nvSpPr>
        <p:spPr>
          <a:xfrm>
            <a:off x="828136" y="1720985"/>
            <a:ext cx="10862341" cy="4097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2"/>
              </a:rPr>
              <a:t>Improve, Automate and Extend Business Processes with Low-Code/No-Code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Speed Business Transformation with App Development and Automation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4"/>
              </a:rPr>
              <a:t>Extend and Improve Standard Application Processes Easily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US" sz="2000" b="1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5"/>
              </a:rPr>
              <a:t>Automate Arvato Systems - Bertelsmann Using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6"/>
              </a:rPr>
              <a:t>Build Process Automations and Extensions to SAP Solution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7"/>
              </a:rPr>
              <a:t>Build Robust Apps Enhanced with Process Automation and Low-Code Tooling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8"/>
              </a:rPr>
              <a:t>Get More from Your Bots: It's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9"/>
              </a:rPr>
              <a:t>Automate Your Invoice Processing with SAP Process Automation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0"/>
              </a:rPr>
              <a:t>Execute Bots in SAP S/4HANA Cloud with SAP Process Automation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1"/>
              </a:rPr>
              <a:t>Driving Intelligent Automation with SAP Integration Suit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446889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7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8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10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5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6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386123" y="1588094"/>
            <a:ext cx="3853007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Build  Process Automation</a:t>
            </a:r>
            <a:endParaRPr lang="en-US" sz="1200" b="1" kern="0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New </a:t>
            </a:r>
            <a:r>
              <a:rPr lang="en-US" sz="1400" b="1" dirty="0"/>
              <a:t>citizen automation user experience </a:t>
            </a:r>
            <a:r>
              <a:rPr lang="en-US" sz="1400" dirty="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All </a:t>
            </a:r>
            <a:r>
              <a:rPr lang="en-US" sz="1400" b="1" dirty="0"/>
              <a:t>advanced workflow management </a:t>
            </a:r>
            <a:r>
              <a:rPr lang="en-US" sz="1400" dirty="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Embedded </a:t>
            </a:r>
            <a:r>
              <a:rPr lang="en-US" sz="1400" b="1" dirty="0"/>
              <a:t>RPA capabilities </a:t>
            </a:r>
            <a:r>
              <a:rPr lang="en-US" sz="1400" dirty="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Content and </a:t>
            </a:r>
            <a:r>
              <a:rPr lang="en-US" sz="1400" b="1" dirty="0"/>
              <a:t>reusable artifacts </a:t>
            </a:r>
            <a:r>
              <a:rPr lang="en-US" sz="1400" dirty="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 dirty="0"/>
              <a:t>Unified launchpad and task center </a:t>
            </a:r>
            <a:r>
              <a:rPr lang="en-US" sz="1400" dirty="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74B3A3F-F810-464C-8383-43230FE2E7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320" y="3833172"/>
            <a:ext cx="4281050" cy="2363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CFAC75-6B97-4740-8145-F06013F46A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3847079"/>
            <a:ext cx="4266592" cy="23495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4E512E-AC33-2B48-9EDB-F27AE51CC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itizen </a:t>
            </a:r>
            <a:r>
              <a:rPr lang="en-US" dirty="0"/>
              <a:t>d</a:t>
            </a:r>
            <a:r>
              <a:rPr lang="en-DE" dirty="0"/>
              <a:t>eveloper </a:t>
            </a:r>
            <a:r>
              <a:rPr lang="en-US" dirty="0"/>
              <a:t>w</a:t>
            </a:r>
            <a:r>
              <a:rPr lang="en-DE" dirty="0"/>
              <a:t>orkflow and </a:t>
            </a:r>
            <a:r>
              <a:rPr lang="en-US" dirty="0"/>
              <a:t>a</a:t>
            </a:r>
            <a:r>
              <a:rPr lang="en-DE" dirty="0"/>
              <a:t>utomation </a:t>
            </a:r>
            <a:r>
              <a:rPr lang="en-GB" dirty="0"/>
              <a:t>in ONE product experience</a:t>
            </a:r>
            <a:endParaRPr lang="en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3ED941-ECEF-C04A-B7E7-79C6C9E7986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1237548"/>
            <a:ext cx="4226880" cy="23277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10A003-BB29-6940-9605-EDAA859A550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5925" y="1224317"/>
            <a:ext cx="4255860" cy="23541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4880C17-7414-B645-8CF5-F1B07653A01E}"/>
              </a:ext>
            </a:extLst>
          </p:cNvPr>
          <p:cNvSpPr/>
          <p:nvPr/>
        </p:nvSpPr>
        <p:spPr bwMode="gray">
          <a:xfrm>
            <a:off x="1595925" y="3294742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Lobby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6A259C-3C1E-AF49-AA9E-C80E0DED5EFA}"/>
              </a:ext>
            </a:extLst>
          </p:cNvPr>
          <p:cNvSpPr/>
          <p:nvPr/>
        </p:nvSpPr>
        <p:spPr bwMode="gray">
          <a:xfrm>
            <a:off x="6085306" y="3273698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ject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1A671C-6895-E945-835C-561AF3A8DFFC}"/>
              </a:ext>
            </a:extLst>
          </p:cNvPr>
          <p:cNvSpPr/>
          <p:nvPr/>
        </p:nvSpPr>
        <p:spPr bwMode="gray">
          <a:xfrm>
            <a:off x="1588320" y="5908007"/>
            <a:ext cx="428105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0547F1-34F3-BE46-B826-6D6E256E44E0}"/>
              </a:ext>
            </a:extLst>
          </p:cNvPr>
          <p:cNvSpPr/>
          <p:nvPr/>
        </p:nvSpPr>
        <p:spPr bwMode="gray">
          <a:xfrm>
            <a:off x="6085305" y="5908006"/>
            <a:ext cx="4281049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 with intelligent Automation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56232D-D64B-4140-9A80-3EFAD008E9AA}"/>
              </a:ext>
            </a:extLst>
          </p:cNvPr>
          <p:cNvSpPr txBox="1"/>
          <p:nvPr/>
        </p:nvSpPr>
        <p:spPr>
          <a:xfrm>
            <a:off x="10528780" y="4480104"/>
            <a:ext cx="12872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mbedded AI capabilitie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immersive modeling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xperience to add intelligen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utomations into process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D12D4089-FEDF-6040-AEFF-3B812E6818A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45359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69EB9CC-6C83-0744-920C-64BA13A08CEE}"/>
              </a:ext>
            </a:extLst>
          </p:cNvPr>
          <p:cNvSpPr txBox="1"/>
          <p:nvPr/>
        </p:nvSpPr>
        <p:spPr>
          <a:xfrm>
            <a:off x="300699" y="4371563"/>
            <a:ext cx="119584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Builder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ombining Workflow step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utomations in a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imple intuitive language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F63F033F-868D-F740-8D33-D0D452B0ACFC}"/>
              </a:ext>
            </a:extLst>
          </p:cNvPr>
          <p:cNvCxnSpPr>
            <a:cxnSpLocks/>
          </p:cNvCxnSpPr>
          <p:nvPr/>
        </p:nvCxnSpPr>
        <p:spPr>
          <a:xfrm>
            <a:off x="176470" y="4371563"/>
            <a:ext cx="1323362" cy="643357"/>
          </a:xfrm>
          <a:prstGeom prst="bentConnector3">
            <a:avLst>
              <a:gd name="adj1" fmla="val -151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75A8BF7-C87E-0244-ABEB-178355DB532A}"/>
              </a:ext>
            </a:extLst>
          </p:cNvPr>
          <p:cNvGrpSpPr/>
          <p:nvPr/>
        </p:nvGrpSpPr>
        <p:grpSpPr>
          <a:xfrm>
            <a:off x="184075" y="1971264"/>
            <a:ext cx="1323362" cy="430143"/>
            <a:chOff x="61544" y="1971264"/>
            <a:chExt cx="1323362" cy="43014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D236B5E-98E4-B44B-A4A1-2E6AA4ACE45C}"/>
                </a:ext>
              </a:extLst>
            </p:cNvPr>
            <p:cNvSpPr txBox="1"/>
            <p:nvPr/>
          </p:nvSpPr>
          <p:spPr>
            <a:xfrm>
              <a:off x="164437" y="1971264"/>
              <a:ext cx="1141338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One Lobby across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Process Automation &amp;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pplication Development</a:t>
              </a:r>
            </a:p>
          </p:txBody>
        </p:sp>
        <p:cxnSp>
          <p:nvCxnSpPr>
            <p:cNvPr id="38" name="Elbow Connector 37">
              <a:extLst>
                <a:ext uri="{FF2B5EF4-FFF2-40B4-BE49-F238E27FC236}">
                  <a16:creationId xmlns:a16="http://schemas.microsoft.com/office/drawing/2014/main" id="{AD2032B9-884E-ED4A-8B69-92CE61FD8CED}"/>
                </a:ext>
              </a:extLst>
            </p:cNvPr>
            <p:cNvCxnSpPr>
              <a:cxnSpLocks/>
            </p:cNvCxnSpPr>
            <p:nvPr/>
          </p:nvCxnSpPr>
          <p:spPr>
            <a:xfrm>
              <a:off x="61544" y="1987062"/>
              <a:ext cx="1323362" cy="414345"/>
            </a:xfrm>
            <a:prstGeom prst="bentConnector3">
              <a:avLst>
                <a:gd name="adj1" fmla="val -494"/>
              </a:avLst>
            </a:prstGeom>
            <a:ln w="12700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1A9FF588-94FD-6F4D-B20F-9AC5E2C2E21E}"/>
              </a:ext>
            </a:extLst>
          </p:cNvPr>
          <p:cNvSpPr txBox="1"/>
          <p:nvPr/>
        </p:nvSpPr>
        <p:spPr>
          <a:xfrm>
            <a:off x="10597360" y="2022654"/>
            <a:ext cx="121988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Projec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 simple life cycle and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fast time to value across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ll artifacts</a:t>
            </a: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C1F908FB-061B-314F-87F0-9367D0189BC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20213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3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E61D8A1-0332-4681-B69B-05BECFC8BB8E}"/>
              </a:ext>
            </a:extLst>
          </p:cNvPr>
          <p:cNvGrpSpPr/>
          <p:nvPr/>
        </p:nvGrpSpPr>
        <p:grpSpPr>
          <a:xfrm>
            <a:off x="505458" y="1699395"/>
            <a:ext cx="2851637" cy="912089"/>
            <a:chOff x="503870" y="1699394"/>
            <a:chExt cx="2851637" cy="912089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8625E5E-7C4B-4A8A-8570-1909A887CA47}"/>
                </a:ext>
              </a:extLst>
            </p:cNvPr>
            <p:cNvSpPr/>
            <p:nvPr/>
          </p:nvSpPr>
          <p:spPr bwMode="gray">
            <a:xfrm>
              <a:off x="503870" y="1909217"/>
              <a:ext cx="1984548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tomate manual, repetitive tasks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1F93CEE-482D-4F3B-8F5E-DE79D35F9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43418" y="1699394"/>
              <a:ext cx="912089" cy="912089"/>
            </a:xfrm>
            <a:prstGeom prst="rect">
              <a:avLst/>
            </a:prstGeom>
            <a:noFill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3451C99-CFB2-4DF1-8B29-3E63A392FF21}"/>
              </a:ext>
            </a:extLst>
          </p:cNvPr>
          <p:cNvGrpSpPr/>
          <p:nvPr/>
        </p:nvGrpSpPr>
        <p:grpSpPr>
          <a:xfrm>
            <a:off x="3876058" y="1699395"/>
            <a:ext cx="3601461" cy="912089"/>
            <a:chOff x="3866024" y="1699394"/>
            <a:chExt cx="3601461" cy="912089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1D0811F-162A-44C1-88FC-6C489C843199}"/>
                </a:ext>
              </a:extLst>
            </p:cNvPr>
            <p:cNvSpPr/>
            <p:nvPr/>
          </p:nvSpPr>
          <p:spPr bwMode="gray">
            <a:xfrm>
              <a:off x="3866024" y="1909219"/>
              <a:ext cx="2670443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Arial Unicode MS"/>
                  <a:cs typeface="Arial Unicode MS"/>
                </a:rPr>
                <a:t>“Lights-out” automation of high-volume process steps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EFB2A78-C9F0-4394-B49D-FA812595A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5396" y="1699394"/>
              <a:ext cx="912089" cy="91208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710AA57-972C-411B-985F-BAA49E0C433B}"/>
              </a:ext>
            </a:extLst>
          </p:cNvPr>
          <p:cNvGrpSpPr/>
          <p:nvPr/>
        </p:nvGrpSpPr>
        <p:grpSpPr>
          <a:xfrm>
            <a:off x="7996481" y="1582953"/>
            <a:ext cx="3931165" cy="1144973"/>
            <a:chOff x="7760473" y="1582952"/>
            <a:chExt cx="3931165" cy="1144973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7D44A864-9447-4673-B3FB-CBF5B3E7490D}"/>
                </a:ext>
              </a:extLst>
            </p:cNvPr>
            <p:cNvSpPr/>
            <p:nvPr/>
          </p:nvSpPr>
          <p:spPr bwMode="gray">
            <a:xfrm>
              <a:off x="7760473" y="1909218"/>
              <a:ext cx="3189467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tomatically aggregate data from multiple systems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413D699-81D8-442F-98F7-155D4CBFF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6665" y="1582952"/>
              <a:ext cx="1144973" cy="1144973"/>
            </a:xfrm>
            <a:prstGeom prst="rect">
              <a:avLst/>
            </a:prstGeom>
          </p:spPr>
        </p:pic>
      </p:grpSp>
      <p:sp>
        <p:nvSpPr>
          <p:cNvPr id="33" name="Titel 14">
            <a:extLst>
              <a:ext uri="{FF2B5EF4-FFF2-40B4-BE49-F238E27FC236}">
                <a16:creationId xmlns:a16="http://schemas.microsoft.com/office/drawing/2014/main" id="{53301BFA-4E65-4868-B209-3BB75A6E6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P Process Automation use cases</a:t>
            </a:r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585549-C7D0-4E3F-A242-3FBB912E41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2518" y="2760233"/>
            <a:ext cx="8172168" cy="197541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8CD5570-1F90-42A9-88D8-FE226983C5FE}"/>
              </a:ext>
            </a:extLst>
          </p:cNvPr>
          <p:cNvGrpSpPr/>
          <p:nvPr/>
        </p:nvGrpSpPr>
        <p:grpSpPr>
          <a:xfrm>
            <a:off x="505456" y="5005794"/>
            <a:ext cx="3324894" cy="822035"/>
            <a:chOff x="503869" y="5005793"/>
            <a:chExt cx="3324894" cy="822035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973D3AC-C06C-4D86-82EF-870BD187B59E}"/>
                </a:ext>
              </a:extLst>
            </p:cNvPr>
            <p:cNvSpPr/>
            <p:nvPr/>
          </p:nvSpPr>
          <p:spPr bwMode="gray">
            <a:xfrm>
              <a:off x="503869" y="5170590"/>
              <a:ext cx="2477869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Digitalize manual &amp; semi-automated processes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C46C5AD0-B074-4469-AC77-8FE8DDD9C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06728" y="5005793"/>
              <a:ext cx="822035" cy="822035"/>
            </a:xfrm>
            <a:prstGeom prst="rect">
              <a:avLst/>
            </a:prstGeom>
            <a:noFill/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5D2E86E-129F-4726-B3B8-B2BFF29B7323}"/>
              </a:ext>
            </a:extLst>
          </p:cNvPr>
          <p:cNvGrpSpPr/>
          <p:nvPr/>
        </p:nvGrpSpPr>
        <p:grpSpPr>
          <a:xfrm>
            <a:off x="4247060" y="5005794"/>
            <a:ext cx="3400443" cy="822035"/>
            <a:chOff x="4146396" y="5005793"/>
            <a:chExt cx="3400443" cy="822035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CA4BABE-4C5E-4900-AD37-E62B3E58096A}"/>
                </a:ext>
              </a:extLst>
            </p:cNvPr>
            <p:cNvSpPr/>
            <p:nvPr/>
          </p:nvSpPr>
          <p:spPr bwMode="gray">
            <a:xfrm>
              <a:off x="4146396" y="5170590"/>
              <a:ext cx="2578408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Extend and adapt standard application flows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AA22FDE-B40A-4593-8176-2B2138FDC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24804" y="5005793"/>
              <a:ext cx="822035" cy="822035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D508DA9-5A8C-4E06-A88D-DEAF9086635D}"/>
              </a:ext>
            </a:extLst>
          </p:cNvPr>
          <p:cNvGrpSpPr/>
          <p:nvPr/>
        </p:nvGrpSpPr>
        <p:grpSpPr>
          <a:xfrm>
            <a:off x="8064210" y="4900847"/>
            <a:ext cx="3750388" cy="1031926"/>
            <a:chOff x="8062623" y="4900847"/>
            <a:chExt cx="3750388" cy="1031926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50EFAAFA-354C-4894-92D4-4EFB19E3055D}"/>
                </a:ext>
              </a:extLst>
            </p:cNvPr>
            <p:cNvSpPr/>
            <p:nvPr/>
          </p:nvSpPr>
          <p:spPr bwMode="gray">
            <a:xfrm>
              <a:off x="8062623" y="5170590"/>
              <a:ext cx="2718462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tomate end-to-end cross-application workflows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A2B78814-21C9-4980-BF46-AF5604705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81085" y="4900847"/>
              <a:ext cx="1031926" cy="10319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562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E512E-AC33-2B48-9EDB-F27AE51CC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2A3F74-F5E3-4E98-8E8D-7821E1BD7C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644" y="1186929"/>
            <a:ext cx="11122833" cy="5167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0147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D672E3-E134-5B4F-AB17-C6AAE1A74F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9277" y="4258102"/>
            <a:ext cx="3391200" cy="1981079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14" name="Picture Placeholder 1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819F2DA-00EA-B94E-8BB6-0E7CAA33509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968" r="-25968"/>
          <a:stretch/>
        </p:blipFill>
        <p:spPr>
          <a:xfrm>
            <a:off x="8299277" y="1735535"/>
            <a:ext cx="3391200" cy="2232000"/>
          </a:xfr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EF6502B-1F75-624D-A97B-B53F36D448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01639" y="4258102"/>
            <a:ext cx="3391200" cy="1981079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5" name="Picture Placeholder 4" descr="Logo&#10;&#10;Description automatically generated">
            <a:extLst>
              <a:ext uri="{FF2B5EF4-FFF2-40B4-BE49-F238E27FC236}">
                <a16:creationId xmlns:a16="http://schemas.microsoft.com/office/drawing/2014/main" id="{8C513FE3-C84C-9A47-81DE-4A01B5F417B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892" r="-25892"/>
          <a:stretch/>
        </p:blipFill>
        <p:spPr>
          <a:xfrm>
            <a:off x="4401639" y="1735535"/>
            <a:ext cx="3391200" cy="2232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DB8CC1-1627-2E4D-990D-F956862847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000" y="4258102"/>
            <a:ext cx="3391200" cy="1981079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9" name="Picture Placeholder 8" descr="A picture containing icon&#10;&#10;Description automatically generated">
            <a:extLst>
              <a:ext uri="{FF2B5EF4-FFF2-40B4-BE49-F238E27FC236}">
                <a16:creationId xmlns:a16="http://schemas.microsoft.com/office/drawing/2014/main" id="{F4AAB681-BD52-CC40-918D-2408AD830E9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000" y="1735535"/>
            <a:ext cx="3391200" cy="2232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AB8E51-0110-7A43-A6DD-C629BDA58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SAP Process Automation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A simpler and faster way to enhance business efficiency and agility with confidence</a:t>
            </a:r>
            <a:endParaRPr lang="en-US" b="0" dirty="0">
              <a:solidFill>
                <a:schemeClr val="accent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07F13C-FDDF-BC45-A562-E730E362CA8B}"/>
              </a:ext>
            </a:extLst>
          </p:cNvPr>
          <p:cNvSpPr txBox="1"/>
          <p:nvPr/>
        </p:nvSpPr>
        <p:spPr>
          <a:xfrm>
            <a:off x="948456" y="4127626"/>
            <a:ext cx="250228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0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Build with Simpli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0FB61F-90E8-9A47-BE9A-CDBAB94DE316}"/>
              </a:ext>
            </a:extLst>
          </p:cNvPr>
          <p:cNvSpPr txBox="1"/>
          <p:nvPr/>
        </p:nvSpPr>
        <p:spPr>
          <a:xfrm>
            <a:off x="5085743" y="4119602"/>
            <a:ext cx="202299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0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Automate Fast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852E0D-1FD2-0449-BDCB-FE8743ADB60A}"/>
              </a:ext>
            </a:extLst>
          </p:cNvPr>
          <p:cNvSpPr txBox="1"/>
          <p:nvPr/>
        </p:nvSpPr>
        <p:spPr>
          <a:xfrm>
            <a:off x="8770183" y="4119601"/>
            <a:ext cx="244938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0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Operate Confident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09B241-E0B8-EC46-AD29-14AF1C9E90C9}"/>
              </a:ext>
            </a:extLst>
          </p:cNvPr>
          <p:cNvSpPr txBox="1"/>
          <p:nvPr/>
        </p:nvSpPr>
        <p:spPr>
          <a:xfrm>
            <a:off x="836272" y="4651466"/>
            <a:ext cx="27266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Simplify automation with visual drag-and-drop tools and industry specific cont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3F42F9-6051-6F4F-83AE-DA7E409433B1}"/>
              </a:ext>
            </a:extLst>
          </p:cNvPr>
          <p:cNvSpPr txBox="1"/>
          <p:nvPr/>
        </p:nvSpPr>
        <p:spPr>
          <a:xfrm>
            <a:off x="4565438" y="4651466"/>
            <a:ext cx="30636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Automate faster with business context in a unified workflow management and robotic process automation solu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5A1875-24A2-B841-8915-45A170ED51A2}"/>
              </a:ext>
            </a:extLst>
          </p:cNvPr>
          <p:cNvSpPr txBox="1"/>
          <p:nvPr/>
        </p:nvSpPr>
        <p:spPr>
          <a:xfrm>
            <a:off x="8417440" y="4651466"/>
            <a:ext cx="315487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Operate confidently on a trusted, enterprise-grade multi-cloud platform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2536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44F3B-2A41-5542-AFD4-FC75F7DC3C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6842" y="1581685"/>
            <a:ext cx="4222875" cy="3476465"/>
          </a:xfrm>
        </p:spPr>
        <p:txBody>
          <a:bodyPr>
            <a:normAutofit/>
          </a:bodyPr>
          <a:lstStyle/>
          <a:p>
            <a:r>
              <a:rPr lang="en-US" sz="1600" b="1" dirty="0"/>
              <a:t>Key Feature: 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Smart Updat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Simplified first download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Faster project switching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Modern Technology and Architectur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Easy UI for Version Management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RDP Manager</a:t>
            </a:r>
          </a:p>
        </p:txBody>
      </p:sp>
      <p:sp>
        <p:nvSpPr>
          <p:cNvPr id="24" name="Title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dirty="0"/>
              <a:t>Agent 3   </a:t>
            </a:r>
            <a:r>
              <a:rPr lang="en-US" dirty="0">
                <a:solidFill>
                  <a:srgbClr val="FF0000"/>
                </a:solidFill>
              </a:rPr>
              <a:t>New!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D97EB9-5566-4F9C-818D-B4586912BE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458" y="1502859"/>
            <a:ext cx="6791225" cy="4714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74636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13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19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TemplafySlideTemplateConfiguration><![CDATA[{"slideVersion":1,"isValidatorEnabled":false,"isLocked":false,"elementsMetadata":[],"slideId":"637593499771762653","enableDocumentContentUpdater":tru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],"slideId":"637878478204845249","enableDocumentContentUpdater":true,"version":"2.0"}]]></TemplafySlideTemplateConfiguration>
</file>

<file path=customXml/item4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5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6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Props1.xml><?xml version="1.0" encoding="utf-8"?>
<ds:datastoreItem xmlns:ds="http://schemas.openxmlformats.org/officeDocument/2006/customXml" ds:itemID="{60467ADA-75A7-4361-8C2B-20A1B5C79660}">
  <ds:schemaRefs/>
</ds:datastoreItem>
</file>

<file path=customXml/itemProps10.xml><?xml version="1.0" encoding="utf-8"?>
<ds:datastoreItem xmlns:ds="http://schemas.openxmlformats.org/officeDocument/2006/customXml" ds:itemID="{382C1131-6B8B-4A16-9A07-4A3F53982264}">
  <ds:schemaRefs/>
</ds:datastoreItem>
</file>

<file path=customXml/itemProps11.xml><?xml version="1.0" encoding="utf-8"?>
<ds:datastoreItem xmlns:ds="http://schemas.openxmlformats.org/officeDocument/2006/customXml" ds:itemID="{6676DF0E-1FCC-47B2-AA1F-7966BD03FC82}">
  <ds:schemaRefs/>
</ds:datastoreItem>
</file>

<file path=customXml/itemProps12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97E3BD22-8559-41C7-B32B-85AADBCE3220}">
  <ds:schemaRefs/>
</ds:datastoreItem>
</file>

<file path=customXml/itemProps14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5.xml><?xml version="1.0" encoding="utf-8"?>
<ds:datastoreItem xmlns:ds="http://schemas.openxmlformats.org/officeDocument/2006/customXml" ds:itemID="{60143FF3-3290-430A-B2BD-45BEBE6E80B1}">
  <ds:schemaRefs/>
</ds:datastoreItem>
</file>

<file path=customXml/itemProps16.xml><?xml version="1.0" encoding="utf-8"?>
<ds:datastoreItem xmlns:ds="http://schemas.openxmlformats.org/officeDocument/2006/customXml" ds:itemID="{A9F7EF9C-AD0B-44D8-977A-293A59A8496B}">
  <ds:schemaRefs/>
</ds:datastoreItem>
</file>

<file path=customXml/itemProps17.xml><?xml version="1.0" encoding="utf-8"?>
<ds:datastoreItem xmlns:ds="http://schemas.openxmlformats.org/officeDocument/2006/customXml" ds:itemID="{2313A804-E20F-46D7-9ED1-9D4C9A288A6F}">
  <ds:schemaRefs/>
</ds:datastoreItem>
</file>

<file path=customXml/itemProps18.xml><?xml version="1.0" encoding="utf-8"?>
<ds:datastoreItem xmlns:ds="http://schemas.openxmlformats.org/officeDocument/2006/customXml" ds:itemID="{AC186CB8-DE82-4000-AAC9-4B44A24DF3D8}">
  <ds:schemaRefs/>
</ds:datastoreItem>
</file>

<file path=customXml/itemProps19.xml><?xml version="1.0" encoding="utf-8"?>
<ds:datastoreItem xmlns:ds="http://schemas.openxmlformats.org/officeDocument/2006/customXml" ds:itemID="{10A6F4D9-E835-43D5-8E7C-6E2A09B1A547}">
  <ds:schemaRefs/>
</ds:datastoreItem>
</file>

<file path=customXml/itemProps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96D9D26A-25C2-44DB-A9FD-D972498B238C}">
  <ds:schemaRefs/>
</ds:datastoreItem>
</file>

<file path=customXml/itemProps21.xml><?xml version="1.0" encoding="utf-8"?>
<ds:datastoreItem xmlns:ds="http://schemas.openxmlformats.org/officeDocument/2006/customXml" ds:itemID="{BBC81E37-C7BB-43AC-8A3D-BFD699CACB76}">
  <ds:schemaRefs/>
</ds:datastoreItem>
</file>

<file path=customXml/itemProps3.xml><?xml version="1.0" encoding="utf-8"?>
<ds:datastoreItem xmlns:ds="http://schemas.openxmlformats.org/officeDocument/2006/customXml" ds:itemID="{1D86B411-DFC0-4CEB-85CD-999DE7D4BAFF}">
  <ds:schemaRefs/>
</ds:datastoreItem>
</file>

<file path=customXml/itemProps4.xml><?xml version="1.0" encoding="utf-8"?>
<ds:datastoreItem xmlns:ds="http://schemas.openxmlformats.org/officeDocument/2006/customXml" ds:itemID="{CE6C8EE9-E091-493A-9E13-2CE4C3DA7E88}">
  <ds:schemaRefs/>
</ds:datastoreItem>
</file>

<file path=customXml/itemProps5.xml><?xml version="1.0" encoding="utf-8"?>
<ds:datastoreItem xmlns:ds="http://schemas.openxmlformats.org/officeDocument/2006/customXml" ds:itemID="{F9415C09-7C35-4E43-8058-C2F9C640DD7F}">
  <ds:schemaRefs/>
</ds:datastoreItem>
</file>

<file path=customXml/itemProps6.xml><?xml version="1.0" encoding="utf-8"?>
<ds:datastoreItem xmlns:ds="http://schemas.openxmlformats.org/officeDocument/2006/customXml" ds:itemID="{CC49FFC8-2FF3-4057-96F0-3BCD1A4F0351}">
  <ds:schemaRefs/>
</ds:datastoreItem>
</file>

<file path=customXml/itemProps7.xml><?xml version="1.0" encoding="utf-8"?>
<ds:datastoreItem xmlns:ds="http://schemas.openxmlformats.org/officeDocument/2006/customXml" ds:itemID="{099A12C3-1BD4-4D9A-BAAC-1927D61656DB}">
  <ds:schemaRefs/>
</ds:datastoreItem>
</file>

<file path=customXml/itemProps8.xml><?xml version="1.0" encoding="utf-8"?>
<ds:datastoreItem xmlns:ds="http://schemas.openxmlformats.org/officeDocument/2006/customXml" ds:itemID="{7F6898E6-9ADD-4538-B0E5-FC21C8DB6903}">
  <ds:schemaRefs/>
</ds:datastoreItem>
</file>

<file path=customXml/itemProps9.xml><?xml version="1.0" encoding="utf-8"?>
<ds:datastoreItem xmlns:ds="http://schemas.openxmlformats.org/officeDocument/2006/customXml" ds:itemID="{626BBCBB-1894-4E66-BA48-9E91CE3ACBA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67</TotalTime>
  <Words>1439</Words>
  <Application>Microsoft Office PowerPoint</Application>
  <PresentationFormat>Custom</PresentationFormat>
  <Paragraphs>211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72</vt:lpstr>
      <vt:lpstr>Arial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d Process Automation</vt:lpstr>
      <vt:lpstr>Agenda</vt:lpstr>
      <vt:lpstr>SAP Build Process Automation </vt:lpstr>
      <vt:lpstr>Introducing SAP Build Process Automation  Capabilities: citizen automation for line-of-business builders</vt:lpstr>
      <vt:lpstr>Citizen developer workflow and automation in ONE product experience</vt:lpstr>
      <vt:lpstr>SAP Process Automation use cases</vt:lpstr>
      <vt:lpstr>SAP S/4HANA Cloud Out-of-Box Prebuilt Content</vt:lpstr>
      <vt:lpstr>SAP Process Automation A simpler and faster way to enhance business efficiency and agility with confidence</vt:lpstr>
      <vt:lpstr>Agent 3   New!!</vt:lpstr>
      <vt:lpstr>Extend SAP S/4HANA Cloud Pre-built Content with Workflow   </vt:lpstr>
      <vt:lpstr>Accelerate business transformation with prebuilt content packages</vt:lpstr>
      <vt:lpstr>Hands-on Exercise Flow</vt:lpstr>
      <vt:lpstr>Hands-on Exercise Flow</vt:lpstr>
      <vt:lpstr>Hands-on Exercises Logon Credentials</vt:lpstr>
      <vt:lpstr>PowerPoint Presentation</vt:lpstr>
      <vt:lpstr>PowerPoint Presentation</vt:lpstr>
      <vt:lpstr>Additional TechEd sessions</vt:lpstr>
      <vt:lpstr>Open new career opportunities Join the community of people with skills for the futu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Chen, Chuck</cp:lastModifiedBy>
  <cp:revision>14</cp:revision>
  <dcterms:created xsi:type="dcterms:W3CDTF">2022-08-30T06:19:10Z</dcterms:created>
  <dcterms:modified xsi:type="dcterms:W3CDTF">2022-11-16T06:42:1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